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338" r:id="rId2"/>
    <p:sldId id="356" r:id="rId3"/>
    <p:sldId id="337" r:id="rId4"/>
    <p:sldId id="357" r:id="rId5"/>
    <p:sldId id="358" r:id="rId6"/>
    <p:sldId id="319" r:id="rId7"/>
    <p:sldId id="359" r:id="rId8"/>
    <p:sldId id="327" r:id="rId9"/>
    <p:sldId id="347" r:id="rId10"/>
  </p:sldIdLst>
  <p:sldSz cx="12192000" cy="6858000"/>
  <p:notesSz cx="6805613" cy="99393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ew Winarczyk" initials="AW" lastIdx="1" clrIdx="0">
    <p:extLst>
      <p:ext uri="{19B8F6BF-5375-455C-9EA6-DF929625EA0E}">
        <p15:presenceInfo xmlns:p15="http://schemas.microsoft.com/office/powerpoint/2012/main" userId="S::andrew.winarczyk@det.nsw.edu.au::fafbb7e0-fa80-4a47-be2d-d6f61fc2a2b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04" autoAdjust="0"/>
    <p:restoredTop sz="94660"/>
  </p:normalViewPr>
  <p:slideViewPr>
    <p:cSldViewPr snapToGrid="0">
      <p:cViewPr varScale="1">
        <p:scale>
          <a:sx n="85" d="100"/>
          <a:sy n="85" d="100"/>
        </p:scale>
        <p:origin x="48" y="1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4342FCD-6537-4A8B-B98F-C9A196578224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B95443D-775D-4DA8-B181-881C76CB49B1}">
      <dgm:prSet/>
      <dgm:spPr/>
      <dgm:t>
        <a:bodyPr/>
        <a:lstStyle/>
        <a:p>
          <a:r>
            <a:rPr lang="en-AU" dirty="0"/>
            <a:t>Improved value for customers</a:t>
          </a:r>
          <a:endParaRPr lang="en-US" dirty="0"/>
        </a:p>
      </dgm:t>
    </dgm:pt>
    <dgm:pt modelId="{86045BED-C8F2-4221-A4C6-5C9984B22659}" type="parTrans" cxnId="{780C6B04-9D4D-4E51-8A5B-C1E8CFA06613}">
      <dgm:prSet/>
      <dgm:spPr/>
      <dgm:t>
        <a:bodyPr/>
        <a:lstStyle/>
        <a:p>
          <a:endParaRPr lang="en-US"/>
        </a:p>
      </dgm:t>
    </dgm:pt>
    <dgm:pt modelId="{A09F9D15-97B0-4930-8928-FEC8AB134DF8}" type="sibTrans" cxnId="{780C6B04-9D4D-4E51-8A5B-C1E8CFA06613}">
      <dgm:prSet/>
      <dgm:spPr/>
      <dgm:t>
        <a:bodyPr/>
        <a:lstStyle/>
        <a:p>
          <a:endParaRPr lang="en-US"/>
        </a:p>
      </dgm:t>
    </dgm:pt>
    <dgm:pt modelId="{784B41EF-705C-4D39-A5CA-769F6B7E9E00}">
      <dgm:prSet/>
      <dgm:spPr/>
      <dgm:t>
        <a:bodyPr/>
        <a:lstStyle/>
        <a:p>
          <a:r>
            <a:rPr lang="en-AU"/>
            <a:t>Minimise fragmentation</a:t>
          </a:r>
          <a:endParaRPr lang="en-US"/>
        </a:p>
      </dgm:t>
    </dgm:pt>
    <dgm:pt modelId="{D5494944-0987-4DCA-B011-AA370A09A36B}" type="parTrans" cxnId="{3D5D17F6-11D5-4190-A541-0E0C2DDCF7BB}">
      <dgm:prSet/>
      <dgm:spPr/>
      <dgm:t>
        <a:bodyPr/>
        <a:lstStyle/>
        <a:p>
          <a:endParaRPr lang="en-US"/>
        </a:p>
      </dgm:t>
    </dgm:pt>
    <dgm:pt modelId="{465B630F-2AE3-4FA8-AAF4-F20BF7BB161F}" type="sibTrans" cxnId="{3D5D17F6-11D5-4190-A541-0E0C2DDCF7BB}">
      <dgm:prSet/>
      <dgm:spPr/>
      <dgm:t>
        <a:bodyPr/>
        <a:lstStyle/>
        <a:p>
          <a:endParaRPr lang="en-US"/>
        </a:p>
      </dgm:t>
    </dgm:pt>
    <dgm:pt modelId="{5A058C07-5CFA-4FE9-986F-21BD7C1D0F09}">
      <dgm:prSet/>
      <dgm:spPr/>
      <dgm:t>
        <a:bodyPr/>
        <a:lstStyle/>
        <a:p>
          <a:r>
            <a:rPr lang="en-AU"/>
            <a:t>Eliminate shadow structures</a:t>
          </a:r>
          <a:endParaRPr lang="en-US"/>
        </a:p>
      </dgm:t>
    </dgm:pt>
    <dgm:pt modelId="{FBB94869-EFAF-4154-8485-84AD99AD864C}" type="parTrans" cxnId="{BD98F806-25DA-4542-A07B-B1D65CCF0F70}">
      <dgm:prSet/>
      <dgm:spPr/>
      <dgm:t>
        <a:bodyPr/>
        <a:lstStyle/>
        <a:p>
          <a:endParaRPr lang="en-US"/>
        </a:p>
      </dgm:t>
    </dgm:pt>
    <dgm:pt modelId="{897DE6E0-FD41-45AC-92E6-9C6C247BB9B1}" type="sibTrans" cxnId="{BD98F806-25DA-4542-A07B-B1D65CCF0F70}">
      <dgm:prSet/>
      <dgm:spPr/>
      <dgm:t>
        <a:bodyPr/>
        <a:lstStyle/>
        <a:p>
          <a:endParaRPr lang="en-US"/>
        </a:p>
      </dgm:t>
    </dgm:pt>
    <dgm:pt modelId="{48A83AFF-F991-460D-A89E-B59730ECE23A}">
      <dgm:prSet/>
      <dgm:spPr/>
      <dgm:t>
        <a:bodyPr/>
        <a:lstStyle/>
        <a:p>
          <a:r>
            <a:rPr lang="en-AU" dirty="0"/>
            <a:t>Increase financial transparency</a:t>
          </a:r>
          <a:endParaRPr lang="en-US" dirty="0"/>
        </a:p>
      </dgm:t>
    </dgm:pt>
    <dgm:pt modelId="{5CA8B795-0447-425E-B581-95AA74C258AF}" type="parTrans" cxnId="{72860DC4-3B1B-4429-90EF-F74C57BBE191}">
      <dgm:prSet/>
      <dgm:spPr/>
      <dgm:t>
        <a:bodyPr/>
        <a:lstStyle/>
        <a:p>
          <a:endParaRPr lang="en-US"/>
        </a:p>
      </dgm:t>
    </dgm:pt>
    <dgm:pt modelId="{027E1F11-9619-4403-A570-BAF83624A5FA}" type="sibTrans" cxnId="{72860DC4-3B1B-4429-90EF-F74C57BBE191}">
      <dgm:prSet/>
      <dgm:spPr/>
      <dgm:t>
        <a:bodyPr/>
        <a:lstStyle/>
        <a:p>
          <a:endParaRPr lang="en-US"/>
        </a:p>
      </dgm:t>
    </dgm:pt>
    <dgm:pt modelId="{1B7E9CEE-8AAA-4A05-84DB-40C6C53E132D}">
      <dgm:prSet/>
      <dgm:spPr/>
      <dgm:t>
        <a:bodyPr/>
        <a:lstStyle/>
        <a:p>
          <a:r>
            <a:rPr lang="en-AU"/>
            <a:t>Improve </a:t>
          </a:r>
          <a:r>
            <a:rPr lang="en-AU" dirty="0"/>
            <a:t>accountability</a:t>
          </a:r>
          <a:endParaRPr lang="en-US" dirty="0"/>
        </a:p>
      </dgm:t>
    </dgm:pt>
    <dgm:pt modelId="{EB63BF45-F4D6-4902-BE39-6535A8A55740}" type="parTrans" cxnId="{8CEA3C64-A05B-429E-9CE3-126705F81FEF}">
      <dgm:prSet/>
      <dgm:spPr/>
      <dgm:t>
        <a:bodyPr/>
        <a:lstStyle/>
        <a:p>
          <a:endParaRPr lang="en-US"/>
        </a:p>
      </dgm:t>
    </dgm:pt>
    <dgm:pt modelId="{45ECC223-12E9-4357-A4A5-DCC6EE150CB4}" type="sibTrans" cxnId="{8CEA3C64-A05B-429E-9CE3-126705F81FEF}">
      <dgm:prSet/>
      <dgm:spPr/>
      <dgm:t>
        <a:bodyPr/>
        <a:lstStyle/>
        <a:p>
          <a:endParaRPr lang="en-US"/>
        </a:p>
      </dgm:t>
    </dgm:pt>
    <dgm:pt modelId="{86134673-A7FC-4B86-866F-B72972AD0FBB}" type="pres">
      <dgm:prSet presAssocID="{14342FCD-6537-4A8B-B98F-C9A196578224}" presName="Name0" presStyleCnt="0">
        <dgm:presLayoutVars>
          <dgm:chMax val="7"/>
          <dgm:chPref val="7"/>
          <dgm:dir/>
        </dgm:presLayoutVars>
      </dgm:prSet>
      <dgm:spPr/>
    </dgm:pt>
    <dgm:pt modelId="{4C79DE12-1D77-45E9-9095-B6BCD14665C2}" type="pres">
      <dgm:prSet presAssocID="{14342FCD-6537-4A8B-B98F-C9A196578224}" presName="Name1" presStyleCnt="0"/>
      <dgm:spPr/>
    </dgm:pt>
    <dgm:pt modelId="{78BD8F93-A1BB-48E6-82A2-C902C7E88486}" type="pres">
      <dgm:prSet presAssocID="{14342FCD-6537-4A8B-B98F-C9A196578224}" presName="cycle" presStyleCnt="0"/>
      <dgm:spPr/>
    </dgm:pt>
    <dgm:pt modelId="{F2DC3092-A28B-4077-9AAD-2319A8BEC633}" type="pres">
      <dgm:prSet presAssocID="{14342FCD-6537-4A8B-B98F-C9A196578224}" presName="srcNode" presStyleLbl="node1" presStyleIdx="0" presStyleCnt="5"/>
      <dgm:spPr/>
    </dgm:pt>
    <dgm:pt modelId="{ABD177EA-B9B7-4C1D-8EE3-B5D0F22A1F43}" type="pres">
      <dgm:prSet presAssocID="{14342FCD-6537-4A8B-B98F-C9A196578224}" presName="conn" presStyleLbl="parChTrans1D2" presStyleIdx="0" presStyleCnt="1"/>
      <dgm:spPr/>
    </dgm:pt>
    <dgm:pt modelId="{A69D9BE7-0416-473B-88C0-C9729A7DA0E8}" type="pres">
      <dgm:prSet presAssocID="{14342FCD-6537-4A8B-B98F-C9A196578224}" presName="extraNode" presStyleLbl="node1" presStyleIdx="0" presStyleCnt="5"/>
      <dgm:spPr/>
    </dgm:pt>
    <dgm:pt modelId="{5E9013ED-1F88-4F67-9423-8D503FDEE9DC}" type="pres">
      <dgm:prSet presAssocID="{14342FCD-6537-4A8B-B98F-C9A196578224}" presName="dstNode" presStyleLbl="node1" presStyleIdx="0" presStyleCnt="5"/>
      <dgm:spPr/>
    </dgm:pt>
    <dgm:pt modelId="{8CF26771-DE30-4C6E-8CE4-268A677ABE31}" type="pres">
      <dgm:prSet presAssocID="{CB95443D-775D-4DA8-B181-881C76CB49B1}" presName="text_1" presStyleLbl="node1" presStyleIdx="0" presStyleCnt="5">
        <dgm:presLayoutVars>
          <dgm:bulletEnabled val="1"/>
        </dgm:presLayoutVars>
      </dgm:prSet>
      <dgm:spPr/>
    </dgm:pt>
    <dgm:pt modelId="{0FBD9848-7E4F-4796-8329-C15925B1CC78}" type="pres">
      <dgm:prSet presAssocID="{CB95443D-775D-4DA8-B181-881C76CB49B1}" presName="accent_1" presStyleCnt="0"/>
      <dgm:spPr/>
    </dgm:pt>
    <dgm:pt modelId="{6F7C0900-11F0-450C-ACAE-557558406456}" type="pres">
      <dgm:prSet presAssocID="{CB95443D-775D-4DA8-B181-881C76CB49B1}" presName="accentRepeatNode" presStyleLbl="solidFgAcc1" presStyleIdx="0" presStyleCnt="5"/>
      <dgm:spPr/>
    </dgm:pt>
    <dgm:pt modelId="{C052F991-1554-4D6C-9749-310817674B30}" type="pres">
      <dgm:prSet presAssocID="{1B7E9CEE-8AAA-4A05-84DB-40C6C53E132D}" presName="text_2" presStyleLbl="node1" presStyleIdx="1" presStyleCnt="5">
        <dgm:presLayoutVars>
          <dgm:bulletEnabled val="1"/>
        </dgm:presLayoutVars>
      </dgm:prSet>
      <dgm:spPr/>
    </dgm:pt>
    <dgm:pt modelId="{0FB4BF78-9520-4E7A-96E9-6CBD3ECE9DD0}" type="pres">
      <dgm:prSet presAssocID="{1B7E9CEE-8AAA-4A05-84DB-40C6C53E132D}" presName="accent_2" presStyleCnt="0"/>
      <dgm:spPr/>
    </dgm:pt>
    <dgm:pt modelId="{6FFBFC89-B8C0-494F-954D-E9728CDC43B8}" type="pres">
      <dgm:prSet presAssocID="{1B7E9CEE-8AAA-4A05-84DB-40C6C53E132D}" presName="accentRepeatNode" presStyleLbl="solidFgAcc1" presStyleIdx="1" presStyleCnt="5"/>
      <dgm:spPr/>
    </dgm:pt>
    <dgm:pt modelId="{0643F045-2DC7-484F-B839-B5CF186D64E0}" type="pres">
      <dgm:prSet presAssocID="{48A83AFF-F991-460D-A89E-B59730ECE23A}" presName="text_3" presStyleLbl="node1" presStyleIdx="2" presStyleCnt="5">
        <dgm:presLayoutVars>
          <dgm:bulletEnabled val="1"/>
        </dgm:presLayoutVars>
      </dgm:prSet>
      <dgm:spPr/>
    </dgm:pt>
    <dgm:pt modelId="{405E4827-7D10-4597-A6EF-BDABF664203F}" type="pres">
      <dgm:prSet presAssocID="{48A83AFF-F991-460D-A89E-B59730ECE23A}" presName="accent_3" presStyleCnt="0"/>
      <dgm:spPr/>
    </dgm:pt>
    <dgm:pt modelId="{FBB0E6F6-7358-4484-8892-175B0CAE6394}" type="pres">
      <dgm:prSet presAssocID="{48A83AFF-F991-460D-A89E-B59730ECE23A}" presName="accentRepeatNode" presStyleLbl="solidFgAcc1" presStyleIdx="2" presStyleCnt="5"/>
      <dgm:spPr/>
    </dgm:pt>
    <dgm:pt modelId="{6A2C5024-5F08-4609-87D2-C3AA5D7F79FC}" type="pres">
      <dgm:prSet presAssocID="{784B41EF-705C-4D39-A5CA-769F6B7E9E00}" presName="text_4" presStyleLbl="node1" presStyleIdx="3" presStyleCnt="5">
        <dgm:presLayoutVars>
          <dgm:bulletEnabled val="1"/>
        </dgm:presLayoutVars>
      </dgm:prSet>
      <dgm:spPr/>
    </dgm:pt>
    <dgm:pt modelId="{D70C028B-04CF-4C1A-8A30-CEA7DB300E5B}" type="pres">
      <dgm:prSet presAssocID="{784B41EF-705C-4D39-A5CA-769F6B7E9E00}" presName="accent_4" presStyleCnt="0"/>
      <dgm:spPr/>
    </dgm:pt>
    <dgm:pt modelId="{F407EF99-F982-40B8-AD4C-598242B7BA92}" type="pres">
      <dgm:prSet presAssocID="{784B41EF-705C-4D39-A5CA-769F6B7E9E00}" presName="accentRepeatNode" presStyleLbl="solidFgAcc1" presStyleIdx="3" presStyleCnt="5"/>
      <dgm:spPr/>
    </dgm:pt>
    <dgm:pt modelId="{013B9477-5035-4FF1-A8CD-ACE3869AA304}" type="pres">
      <dgm:prSet presAssocID="{5A058C07-5CFA-4FE9-986F-21BD7C1D0F09}" presName="text_5" presStyleLbl="node1" presStyleIdx="4" presStyleCnt="5">
        <dgm:presLayoutVars>
          <dgm:bulletEnabled val="1"/>
        </dgm:presLayoutVars>
      </dgm:prSet>
      <dgm:spPr/>
    </dgm:pt>
    <dgm:pt modelId="{0E2732F7-7FB6-4C2E-B6DD-DE23CE89E44E}" type="pres">
      <dgm:prSet presAssocID="{5A058C07-5CFA-4FE9-986F-21BD7C1D0F09}" presName="accent_5" presStyleCnt="0"/>
      <dgm:spPr/>
    </dgm:pt>
    <dgm:pt modelId="{3987323D-41E1-45A5-8B4F-D429756D5453}" type="pres">
      <dgm:prSet presAssocID="{5A058C07-5CFA-4FE9-986F-21BD7C1D0F09}" presName="accentRepeatNode" presStyleLbl="solidFgAcc1" presStyleIdx="4" presStyleCnt="5"/>
      <dgm:spPr/>
    </dgm:pt>
  </dgm:ptLst>
  <dgm:cxnLst>
    <dgm:cxn modelId="{51C62C00-CCBD-4762-AAA6-35309BDD0105}" type="presOf" srcId="{A09F9D15-97B0-4930-8928-FEC8AB134DF8}" destId="{ABD177EA-B9B7-4C1D-8EE3-B5D0F22A1F43}" srcOrd="0" destOrd="0" presId="urn:microsoft.com/office/officeart/2008/layout/VerticalCurvedList"/>
    <dgm:cxn modelId="{780C6B04-9D4D-4E51-8A5B-C1E8CFA06613}" srcId="{14342FCD-6537-4A8B-B98F-C9A196578224}" destId="{CB95443D-775D-4DA8-B181-881C76CB49B1}" srcOrd="0" destOrd="0" parTransId="{86045BED-C8F2-4221-A4C6-5C9984B22659}" sibTransId="{A09F9D15-97B0-4930-8928-FEC8AB134DF8}"/>
    <dgm:cxn modelId="{BD98F806-25DA-4542-A07B-B1D65CCF0F70}" srcId="{14342FCD-6537-4A8B-B98F-C9A196578224}" destId="{5A058C07-5CFA-4FE9-986F-21BD7C1D0F09}" srcOrd="4" destOrd="0" parTransId="{FBB94869-EFAF-4154-8485-84AD99AD864C}" sibTransId="{897DE6E0-FD41-45AC-92E6-9C6C247BB9B1}"/>
    <dgm:cxn modelId="{8CEA3C64-A05B-429E-9CE3-126705F81FEF}" srcId="{14342FCD-6537-4A8B-B98F-C9A196578224}" destId="{1B7E9CEE-8AAA-4A05-84DB-40C6C53E132D}" srcOrd="1" destOrd="0" parTransId="{EB63BF45-F4D6-4902-BE39-6535A8A55740}" sibTransId="{45ECC223-12E9-4357-A4A5-DCC6EE150CB4}"/>
    <dgm:cxn modelId="{07017847-AA75-4F55-85E3-650CA838A1E9}" type="presOf" srcId="{784B41EF-705C-4D39-A5CA-769F6B7E9E00}" destId="{6A2C5024-5F08-4609-87D2-C3AA5D7F79FC}" srcOrd="0" destOrd="0" presId="urn:microsoft.com/office/officeart/2008/layout/VerticalCurvedList"/>
    <dgm:cxn modelId="{4C25F951-933F-4CB6-8A77-A52D59ED4309}" type="presOf" srcId="{5A058C07-5CFA-4FE9-986F-21BD7C1D0F09}" destId="{013B9477-5035-4FF1-A8CD-ACE3869AA304}" srcOrd="0" destOrd="0" presId="urn:microsoft.com/office/officeart/2008/layout/VerticalCurvedList"/>
    <dgm:cxn modelId="{3646B775-1D0E-4426-8042-B2DB50AA5D42}" type="presOf" srcId="{CB95443D-775D-4DA8-B181-881C76CB49B1}" destId="{8CF26771-DE30-4C6E-8CE4-268A677ABE31}" srcOrd="0" destOrd="0" presId="urn:microsoft.com/office/officeart/2008/layout/VerticalCurvedList"/>
    <dgm:cxn modelId="{72860DC4-3B1B-4429-90EF-F74C57BBE191}" srcId="{14342FCD-6537-4A8B-B98F-C9A196578224}" destId="{48A83AFF-F991-460D-A89E-B59730ECE23A}" srcOrd="2" destOrd="0" parTransId="{5CA8B795-0447-425E-B581-95AA74C258AF}" sibTransId="{027E1F11-9619-4403-A570-BAF83624A5FA}"/>
    <dgm:cxn modelId="{257C1CD0-79B2-4821-896A-C1850F1135F3}" type="presOf" srcId="{1B7E9CEE-8AAA-4A05-84DB-40C6C53E132D}" destId="{C052F991-1554-4D6C-9749-310817674B30}" srcOrd="0" destOrd="0" presId="urn:microsoft.com/office/officeart/2008/layout/VerticalCurvedList"/>
    <dgm:cxn modelId="{4D0B46E1-F1E1-4514-A039-E279DB05B95C}" type="presOf" srcId="{48A83AFF-F991-460D-A89E-B59730ECE23A}" destId="{0643F045-2DC7-484F-B839-B5CF186D64E0}" srcOrd="0" destOrd="0" presId="urn:microsoft.com/office/officeart/2008/layout/VerticalCurvedList"/>
    <dgm:cxn modelId="{940EFEE6-559D-413F-82CC-4C4774675EE3}" type="presOf" srcId="{14342FCD-6537-4A8B-B98F-C9A196578224}" destId="{86134673-A7FC-4B86-866F-B72972AD0FBB}" srcOrd="0" destOrd="0" presId="urn:microsoft.com/office/officeart/2008/layout/VerticalCurvedList"/>
    <dgm:cxn modelId="{3D5D17F6-11D5-4190-A541-0E0C2DDCF7BB}" srcId="{14342FCD-6537-4A8B-B98F-C9A196578224}" destId="{784B41EF-705C-4D39-A5CA-769F6B7E9E00}" srcOrd="3" destOrd="0" parTransId="{D5494944-0987-4DCA-B011-AA370A09A36B}" sibTransId="{465B630F-2AE3-4FA8-AAF4-F20BF7BB161F}"/>
    <dgm:cxn modelId="{73F16593-45C2-493C-A028-A9C2378AFC2A}" type="presParOf" srcId="{86134673-A7FC-4B86-866F-B72972AD0FBB}" destId="{4C79DE12-1D77-45E9-9095-B6BCD14665C2}" srcOrd="0" destOrd="0" presId="urn:microsoft.com/office/officeart/2008/layout/VerticalCurvedList"/>
    <dgm:cxn modelId="{57813034-49F8-487A-AA13-FE242A8CB068}" type="presParOf" srcId="{4C79DE12-1D77-45E9-9095-B6BCD14665C2}" destId="{78BD8F93-A1BB-48E6-82A2-C902C7E88486}" srcOrd="0" destOrd="0" presId="urn:microsoft.com/office/officeart/2008/layout/VerticalCurvedList"/>
    <dgm:cxn modelId="{86D81D62-842E-4539-937D-517A96B6EC70}" type="presParOf" srcId="{78BD8F93-A1BB-48E6-82A2-C902C7E88486}" destId="{F2DC3092-A28B-4077-9AAD-2319A8BEC633}" srcOrd="0" destOrd="0" presId="urn:microsoft.com/office/officeart/2008/layout/VerticalCurvedList"/>
    <dgm:cxn modelId="{DD80D9AB-C6AF-481D-939E-76FDAC566A34}" type="presParOf" srcId="{78BD8F93-A1BB-48E6-82A2-C902C7E88486}" destId="{ABD177EA-B9B7-4C1D-8EE3-B5D0F22A1F43}" srcOrd="1" destOrd="0" presId="urn:microsoft.com/office/officeart/2008/layout/VerticalCurvedList"/>
    <dgm:cxn modelId="{0791D8BB-9460-4DA0-8C9E-7BCDC00A1790}" type="presParOf" srcId="{78BD8F93-A1BB-48E6-82A2-C902C7E88486}" destId="{A69D9BE7-0416-473B-88C0-C9729A7DA0E8}" srcOrd="2" destOrd="0" presId="urn:microsoft.com/office/officeart/2008/layout/VerticalCurvedList"/>
    <dgm:cxn modelId="{624191C8-2F7D-4A36-961F-856BECE11533}" type="presParOf" srcId="{78BD8F93-A1BB-48E6-82A2-C902C7E88486}" destId="{5E9013ED-1F88-4F67-9423-8D503FDEE9DC}" srcOrd="3" destOrd="0" presId="urn:microsoft.com/office/officeart/2008/layout/VerticalCurvedList"/>
    <dgm:cxn modelId="{3F00121F-13DE-435B-9AAF-DE98551956D4}" type="presParOf" srcId="{4C79DE12-1D77-45E9-9095-B6BCD14665C2}" destId="{8CF26771-DE30-4C6E-8CE4-268A677ABE31}" srcOrd="1" destOrd="0" presId="urn:microsoft.com/office/officeart/2008/layout/VerticalCurvedList"/>
    <dgm:cxn modelId="{BE3C4648-4A17-48CB-931A-F5BBC8EC3AAE}" type="presParOf" srcId="{4C79DE12-1D77-45E9-9095-B6BCD14665C2}" destId="{0FBD9848-7E4F-4796-8329-C15925B1CC78}" srcOrd="2" destOrd="0" presId="urn:microsoft.com/office/officeart/2008/layout/VerticalCurvedList"/>
    <dgm:cxn modelId="{1CD5EC24-1240-4994-ABC5-47398D7ED52A}" type="presParOf" srcId="{0FBD9848-7E4F-4796-8329-C15925B1CC78}" destId="{6F7C0900-11F0-450C-ACAE-557558406456}" srcOrd="0" destOrd="0" presId="urn:microsoft.com/office/officeart/2008/layout/VerticalCurvedList"/>
    <dgm:cxn modelId="{53828586-D5CC-4DD1-9FCB-781FF6241B36}" type="presParOf" srcId="{4C79DE12-1D77-45E9-9095-B6BCD14665C2}" destId="{C052F991-1554-4D6C-9749-310817674B30}" srcOrd="3" destOrd="0" presId="urn:microsoft.com/office/officeart/2008/layout/VerticalCurvedList"/>
    <dgm:cxn modelId="{04E26AAA-A3E4-4F63-8C4F-E39665130272}" type="presParOf" srcId="{4C79DE12-1D77-45E9-9095-B6BCD14665C2}" destId="{0FB4BF78-9520-4E7A-96E9-6CBD3ECE9DD0}" srcOrd="4" destOrd="0" presId="urn:microsoft.com/office/officeart/2008/layout/VerticalCurvedList"/>
    <dgm:cxn modelId="{04E9BE43-22A8-4474-95B3-E03456DEB460}" type="presParOf" srcId="{0FB4BF78-9520-4E7A-96E9-6CBD3ECE9DD0}" destId="{6FFBFC89-B8C0-494F-954D-E9728CDC43B8}" srcOrd="0" destOrd="0" presId="urn:microsoft.com/office/officeart/2008/layout/VerticalCurvedList"/>
    <dgm:cxn modelId="{C8D52116-4798-49BB-AB1C-3461C61E07D7}" type="presParOf" srcId="{4C79DE12-1D77-45E9-9095-B6BCD14665C2}" destId="{0643F045-2DC7-484F-B839-B5CF186D64E0}" srcOrd="5" destOrd="0" presId="urn:microsoft.com/office/officeart/2008/layout/VerticalCurvedList"/>
    <dgm:cxn modelId="{3ED7C420-9EE0-4817-85E0-CBBA1E538436}" type="presParOf" srcId="{4C79DE12-1D77-45E9-9095-B6BCD14665C2}" destId="{405E4827-7D10-4597-A6EF-BDABF664203F}" srcOrd="6" destOrd="0" presId="urn:microsoft.com/office/officeart/2008/layout/VerticalCurvedList"/>
    <dgm:cxn modelId="{496A2EC6-D6C3-4AFF-ADA5-7C9A286EFC19}" type="presParOf" srcId="{405E4827-7D10-4597-A6EF-BDABF664203F}" destId="{FBB0E6F6-7358-4484-8892-175B0CAE6394}" srcOrd="0" destOrd="0" presId="urn:microsoft.com/office/officeart/2008/layout/VerticalCurvedList"/>
    <dgm:cxn modelId="{736EDA36-3B07-4044-A22E-27393D066108}" type="presParOf" srcId="{4C79DE12-1D77-45E9-9095-B6BCD14665C2}" destId="{6A2C5024-5F08-4609-87D2-C3AA5D7F79FC}" srcOrd="7" destOrd="0" presId="urn:microsoft.com/office/officeart/2008/layout/VerticalCurvedList"/>
    <dgm:cxn modelId="{5045EAFD-4E58-45D8-B974-FE721153350A}" type="presParOf" srcId="{4C79DE12-1D77-45E9-9095-B6BCD14665C2}" destId="{D70C028B-04CF-4C1A-8A30-CEA7DB300E5B}" srcOrd="8" destOrd="0" presId="urn:microsoft.com/office/officeart/2008/layout/VerticalCurvedList"/>
    <dgm:cxn modelId="{A2B569F3-E624-4D93-B9C6-4148F757A9E4}" type="presParOf" srcId="{D70C028B-04CF-4C1A-8A30-CEA7DB300E5B}" destId="{F407EF99-F982-40B8-AD4C-598242B7BA92}" srcOrd="0" destOrd="0" presId="urn:microsoft.com/office/officeart/2008/layout/VerticalCurvedList"/>
    <dgm:cxn modelId="{FC88B97B-C8BC-489B-A501-1113C749D0CB}" type="presParOf" srcId="{4C79DE12-1D77-45E9-9095-B6BCD14665C2}" destId="{013B9477-5035-4FF1-A8CD-ACE3869AA304}" srcOrd="9" destOrd="0" presId="urn:microsoft.com/office/officeart/2008/layout/VerticalCurvedList"/>
    <dgm:cxn modelId="{FC34FE94-F645-407E-8191-CF05A6731F38}" type="presParOf" srcId="{4C79DE12-1D77-45E9-9095-B6BCD14665C2}" destId="{0E2732F7-7FB6-4C2E-B6DD-DE23CE89E44E}" srcOrd="10" destOrd="0" presId="urn:microsoft.com/office/officeart/2008/layout/VerticalCurvedList"/>
    <dgm:cxn modelId="{28CD740F-8CC4-43C8-9D2C-857DBA8F7D29}" type="presParOf" srcId="{0E2732F7-7FB6-4C2E-B6DD-DE23CE89E44E}" destId="{3987323D-41E1-45A5-8B4F-D429756D545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D177EA-B9B7-4C1D-8EE3-B5D0F22A1F43}">
      <dsp:nvSpPr>
        <dsp:cNvPr id="0" name=""/>
        <dsp:cNvSpPr/>
      </dsp:nvSpPr>
      <dsp:spPr>
        <a:xfrm>
          <a:off x="-4734969" y="-725788"/>
          <a:ext cx="5639879" cy="5639879"/>
        </a:xfrm>
        <a:prstGeom prst="blockArc">
          <a:avLst>
            <a:gd name="adj1" fmla="val 18900000"/>
            <a:gd name="adj2" fmla="val 2700000"/>
            <a:gd name="adj3" fmla="val 383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F26771-DE30-4C6E-8CE4-268A677ABE31}">
      <dsp:nvSpPr>
        <dsp:cNvPr id="0" name=""/>
        <dsp:cNvSpPr/>
      </dsp:nvSpPr>
      <dsp:spPr>
        <a:xfrm>
          <a:off x="396024" y="261685"/>
          <a:ext cx="4762840" cy="5237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5691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300" kern="1200" dirty="0"/>
            <a:t>Improved value for customers</a:t>
          </a:r>
          <a:endParaRPr lang="en-US" sz="2300" kern="1200" dirty="0"/>
        </a:p>
      </dsp:txBody>
      <dsp:txXfrm>
        <a:off x="396024" y="261685"/>
        <a:ext cx="4762840" cy="523705"/>
      </dsp:txXfrm>
    </dsp:sp>
    <dsp:sp modelId="{6F7C0900-11F0-450C-ACAE-557558406456}">
      <dsp:nvSpPr>
        <dsp:cNvPr id="0" name=""/>
        <dsp:cNvSpPr/>
      </dsp:nvSpPr>
      <dsp:spPr>
        <a:xfrm>
          <a:off x="68708" y="196221"/>
          <a:ext cx="654631" cy="65463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52F991-1554-4D6C-9749-310817674B30}">
      <dsp:nvSpPr>
        <dsp:cNvPr id="0" name=""/>
        <dsp:cNvSpPr/>
      </dsp:nvSpPr>
      <dsp:spPr>
        <a:xfrm>
          <a:off x="771296" y="1046991"/>
          <a:ext cx="4387568" cy="5237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5691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300" kern="1200"/>
            <a:t>Improve </a:t>
          </a:r>
          <a:r>
            <a:rPr lang="en-AU" sz="2300" kern="1200" dirty="0"/>
            <a:t>accountability</a:t>
          </a:r>
          <a:endParaRPr lang="en-US" sz="2300" kern="1200" dirty="0"/>
        </a:p>
      </dsp:txBody>
      <dsp:txXfrm>
        <a:off x="771296" y="1046991"/>
        <a:ext cx="4387568" cy="523705"/>
      </dsp:txXfrm>
    </dsp:sp>
    <dsp:sp modelId="{6FFBFC89-B8C0-494F-954D-E9728CDC43B8}">
      <dsp:nvSpPr>
        <dsp:cNvPr id="0" name=""/>
        <dsp:cNvSpPr/>
      </dsp:nvSpPr>
      <dsp:spPr>
        <a:xfrm>
          <a:off x="443980" y="981528"/>
          <a:ext cx="654631" cy="65463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43F045-2DC7-484F-B839-B5CF186D64E0}">
      <dsp:nvSpPr>
        <dsp:cNvPr id="0" name=""/>
        <dsp:cNvSpPr/>
      </dsp:nvSpPr>
      <dsp:spPr>
        <a:xfrm>
          <a:off x="886474" y="1832298"/>
          <a:ext cx="4272390" cy="5237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5691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300" kern="1200" dirty="0"/>
            <a:t>Increase financial transparency</a:t>
          </a:r>
          <a:endParaRPr lang="en-US" sz="2300" kern="1200" dirty="0"/>
        </a:p>
      </dsp:txBody>
      <dsp:txXfrm>
        <a:off x="886474" y="1832298"/>
        <a:ext cx="4272390" cy="523705"/>
      </dsp:txXfrm>
    </dsp:sp>
    <dsp:sp modelId="{FBB0E6F6-7358-4484-8892-175B0CAE6394}">
      <dsp:nvSpPr>
        <dsp:cNvPr id="0" name=""/>
        <dsp:cNvSpPr/>
      </dsp:nvSpPr>
      <dsp:spPr>
        <a:xfrm>
          <a:off x="559158" y="1766835"/>
          <a:ext cx="654631" cy="65463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2C5024-5F08-4609-87D2-C3AA5D7F79FC}">
      <dsp:nvSpPr>
        <dsp:cNvPr id="0" name=""/>
        <dsp:cNvSpPr/>
      </dsp:nvSpPr>
      <dsp:spPr>
        <a:xfrm>
          <a:off x="771296" y="2617605"/>
          <a:ext cx="4387568" cy="5237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5691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300" kern="1200"/>
            <a:t>Minimise fragmentation</a:t>
          </a:r>
          <a:endParaRPr lang="en-US" sz="2300" kern="1200"/>
        </a:p>
      </dsp:txBody>
      <dsp:txXfrm>
        <a:off x="771296" y="2617605"/>
        <a:ext cx="4387568" cy="523705"/>
      </dsp:txXfrm>
    </dsp:sp>
    <dsp:sp modelId="{F407EF99-F982-40B8-AD4C-598242B7BA92}">
      <dsp:nvSpPr>
        <dsp:cNvPr id="0" name=""/>
        <dsp:cNvSpPr/>
      </dsp:nvSpPr>
      <dsp:spPr>
        <a:xfrm>
          <a:off x="443980" y="2552142"/>
          <a:ext cx="654631" cy="65463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3B9477-5035-4FF1-A8CD-ACE3869AA304}">
      <dsp:nvSpPr>
        <dsp:cNvPr id="0" name=""/>
        <dsp:cNvSpPr/>
      </dsp:nvSpPr>
      <dsp:spPr>
        <a:xfrm>
          <a:off x="396024" y="3402912"/>
          <a:ext cx="4762840" cy="5237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5691" tIns="58420" rIns="58420" bIns="5842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300" kern="1200"/>
            <a:t>Eliminate shadow structures</a:t>
          </a:r>
          <a:endParaRPr lang="en-US" sz="2300" kern="1200"/>
        </a:p>
      </dsp:txBody>
      <dsp:txXfrm>
        <a:off x="396024" y="3402912"/>
        <a:ext cx="4762840" cy="523705"/>
      </dsp:txXfrm>
    </dsp:sp>
    <dsp:sp modelId="{3987323D-41E1-45A5-8B4F-D429756D5453}">
      <dsp:nvSpPr>
        <dsp:cNvPr id="0" name=""/>
        <dsp:cNvSpPr/>
      </dsp:nvSpPr>
      <dsp:spPr>
        <a:xfrm>
          <a:off x="68708" y="3337449"/>
          <a:ext cx="654631" cy="65463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507DE4-EA56-472C-9B3C-B1FB9E8412F2}" type="datetimeFigureOut">
              <a:rPr lang="en-AU" smtClean="0"/>
              <a:t>28/11/2018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29611C-5059-4E8C-8466-A7E8D3DA070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48577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Given what we have discussed about the role, mandate and value proposition for Finance, what are the key guiding principles for this organisation design work?</a:t>
            </a:r>
          </a:p>
          <a:p>
            <a:r>
              <a:rPr lang="en-AU" dirty="0"/>
              <a:t>Which are the most important?</a:t>
            </a:r>
          </a:p>
          <a:p>
            <a:r>
              <a:rPr lang="en-AU" dirty="0"/>
              <a:t>What others need to be added? Max 10 – ideally 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29611C-5059-4E8C-8466-A7E8D3DA0703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59252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This is why we’re here – is there agreement in the room?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29611C-5059-4E8C-8466-A7E8D3DA0703}" type="slidenum">
              <a:rPr lang="en-AU" smtClean="0"/>
              <a:t>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11774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" name="Picture 44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140"/>
          <a:stretch/>
        </p:blipFill>
        <p:spPr bwMode="auto">
          <a:xfrm>
            <a:off x="0" y="2875"/>
            <a:ext cx="12192000" cy="685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3" name="Rectangle 1042"/>
          <p:cNvSpPr/>
          <p:nvPr userDrawn="1"/>
        </p:nvSpPr>
        <p:spPr>
          <a:xfrm>
            <a:off x="0" y="0"/>
            <a:ext cx="8976320" cy="6858000"/>
          </a:xfrm>
          <a:prstGeom prst="rect">
            <a:avLst/>
          </a:prstGeom>
          <a:solidFill>
            <a:srgbClr val="00ABC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3763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7381" y="2084851"/>
            <a:ext cx="5822880" cy="1632181"/>
          </a:xfrm>
        </p:spPr>
        <p:txBody>
          <a:bodyPr lIns="0" anchor="b"/>
          <a:lstStyle>
            <a:lvl1pPr>
              <a:defRPr sz="3733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7381" y="3982211"/>
            <a:ext cx="5822880" cy="1174981"/>
          </a:xfrm>
          <a:solidFill>
            <a:srgbClr val="FFFFFF">
              <a:alpha val="94902"/>
            </a:srgbClr>
          </a:solidFill>
        </p:spPr>
        <p:txBody>
          <a:bodyPr lIns="90000" anchor="ctr">
            <a:normAutofit/>
          </a:bodyPr>
          <a:lstStyle>
            <a:lvl1pPr marL="0" indent="0" algn="l"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+mn-lt"/>
              </a:defRPr>
            </a:lvl1pPr>
            <a:lvl2pPr marL="609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AU" dirty="0"/>
          </a:p>
        </p:txBody>
      </p:sp>
      <p:grpSp>
        <p:nvGrpSpPr>
          <p:cNvPr id="53" name="Group 52"/>
          <p:cNvGrpSpPr>
            <a:grpSpLocks noChangeAspect="1"/>
          </p:cNvGrpSpPr>
          <p:nvPr userDrawn="1"/>
        </p:nvGrpSpPr>
        <p:grpSpPr>
          <a:xfrm>
            <a:off x="527382" y="469063"/>
            <a:ext cx="1867805" cy="662572"/>
            <a:chOff x="-3190875" y="-179387"/>
            <a:chExt cx="15528925" cy="5508625"/>
          </a:xfrm>
        </p:grpSpPr>
        <p:sp>
          <p:nvSpPr>
            <p:cNvPr id="54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5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6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7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8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9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0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1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2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3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4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5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6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7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8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9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0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1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2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3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4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5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6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7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8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9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0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1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2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3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4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5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6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7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8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9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</p:grpSp>
      <p:cxnSp>
        <p:nvCxnSpPr>
          <p:cNvPr id="1045" name="Straight Connector 1044"/>
          <p:cNvCxnSpPr/>
          <p:nvPr userDrawn="1"/>
        </p:nvCxnSpPr>
        <p:spPr>
          <a:xfrm>
            <a:off x="527381" y="3750836"/>
            <a:ext cx="6624736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7" name="Oval 1046"/>
          <p:cNvSpPr/>
          <p:nvPr userDrawn="1"/>
        </p:nvSpPr>
        <p:spPr>
          <a:xfrm>
            <a:off x="7152117" y="3174772"/>
            <a:ext cx="1152128" cy="1152128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3763" dirty="0"/>
          </a:p>
        </p:txBody>
      </p:sp>
      <p:sp>
        <p:nvSpPr>
          <p:cNvPr id="39" name="Date Placeholder 3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46E0129-E971-414F-9C50-133062B87FFC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40" name="Footer Placeholder 39"/>
          <p:cNvSpPr>
            <a:spLocks noGrp="1"/>
          </p:cNvSpPr>
          <p:nvPr>
            <p:ph type="ftr" sz="quarter" idx="11"/>
          </p:nvPr>
        </p:nvSpPr>
        <p:spPr>
          <a:xfrm>
            <a:off x="527383" y="6332835"/>
            <a:ext cx="364840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© NSW Department of Education | </a:t>
            </a:r>
            <a:r>
              <a:rPr lang="en-US" dirty="0"/>
              <a:t>Document title</a:t>
            </a:r>
            <a:endParaRPr lang="en-AU" dirty="0"/>
          </a:p>
        </p:txBody>
      </p:sp>
      <p:sp>
        <p:nvSpPr>
          <p:cNvPr id="41" name="Slide Number Placeholder 4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  <p:grpSp>
        <p:nvGrpSpPr>
          <p:cNvPr id="49" name="Group 48"/>
          <p:cNvGrpSpPr/>
          <p:nvPr userDrawn="1"/>
        </p:nvGrpSpPr>
        <p:grpSpPr>
          <a:xfrm>
            <a:off x="7466356" y="3582056"/>
            <a:ext cx="523651" cy="337560"/>
            <a:chOff x="5503863" y="2646363"/>
            <a:chExt cx="576262" cy="371476"/>
          </a:xfrm>
          <a:solidFill>
            <a:schemeClr val="bg1"/>
          </a:solidFill>
        </p:grpSpPr>
        <p:sp>
          <p:nvSpPr>
            <p:cNvPr id="50" name="Freeform 5"/>
            <p:cNvSpPr>
              <a:spLocks noEditPoints="1"/>
            </p:cNvSpPr>
            <p:nvPr/>
          </p:nvSpPr>
          <p:spPr bwMode="auto">
            <a:xfrm>
              <a:off x="5562600" y="2646363"/>
              <a:ext cx="457200" cy="323850"/>
            </a:xfrm>
            <a:custGeom>
              <a:avLst/>
              <a:gdLst>
                <a:gd name="T0" fmla="*/ 3 w 122"/>
                <a:gd name="T1" fmla="*/ 84 h 86"/>
                <a:gd name="T2" fmla="*/ 119 w 122"/>
                <a:gd name="T3" fmla="*/ 84 h 86"/>
                <a:gd name="T4" fmla="*/ 119 w 122"/>
                <a:gd name="T5" fmla="*/ 10 h 86"/>
                <a:gd name="T6" fmla="*/ 113 w 122"/>
                <a:gd name="T7" fmla="*/ 3 h 86"/>
                <a:gd name="T8" fmla="*/ 9 w 122"/>
                <a:gd name="T9" fmla="*/ 3 h 86"/>
                <a:gd name="T10" fmla="*/ 3 w 122"/>
                <a:gd name="T11" fmla="*/ 10 h 86"/>
                <a:gd name="T12" fmla="*/ 3 w 122"/>
                <a:gd name="T13" fmla="*/ 84 h 86"/>
                <a:gd name="T14" fmla="*/ 120 w 122"/>
                <a:gd name="T15" fmla="*/ 86 h 86"/>
                <a:gd name="T16" fmla="*/ 1 w 122"/>
                <a:gd name="T17" fmla="*/ 86 h 86"/>
                <a:gd name="T18" fmla="*/ 0 w 122"/>
                <a:gd name="T19" fmla="*/ 85 h 86"/>
                <a:gd name="T20" fmla="*/ 0 w 122"/>
                <a:gd name="T21" fmla="*/ 10 h 86"/>
                <a:gd name="T22" fmla="*/ 9 w 122"/>
                <a:gd name="T23" fmla="*/ 0 h 86"/>
                <a:gd name="T24" fmla="*/ 113 w 122"/>
                <a:gd name="T25" fmla="*/ 0 h 86"/>
                <a:gd name="T26" fmla="*/ 122 w 122"/>
                <a:gd name="T27" fmla="*/ 10 h 86"/>
                <a:gd name="T28" fmla="*/ 122 w 122"/>
                <a:gd name="T29" fmla="*/ 85 h 86"/>
                <a:gd name="T30" fmla="*/ 120 w 122"/>
                <a:gd name="T3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" h="86">
                  <a:moveTo>
                    <a:pt x="3" y="84"/>
                  </a:moveTo>
                  <a:cubicBezTo>
                    <a:pt x="119" y="84"/>
                    <a:pt x="119" y="84"/>
                    <a:pt x="119" y="84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6"/>
                    <a:pt x="116" y="3"/>
                    <a:pt x="113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5" y="3"/>
                    <a:pt x="3" y="6"/>
                    <a:pt x="3" y="10"/>
                  </a:cubicBezTo>
                  <a:lnTo>
                    <a:pt x="3" y="84"/>
                  </a:lnTo>
                  <a:close/>
                  <a:moveTo>
                    <a:pt x="120" y="86"/>
                  </a:moveTo>
                  <a:cubicBezTo>
                    <a:pt x="1" y="86"/>
                    <a:pt x="1" y="86"/>
                    <a:pt x="1" y="86"/>
                  </a:cubicBezTo>
                  <a:cubicBezTo>
                    <a:pt x="1" y="86"/>
                    <a:pt x="0" y="86"/>
                    <a:pt x="0" y="85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9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8" y="0"/>
                    <a:pt x="122" y="5"/>
                    <a:pt x="122" y="10"/>
                  </a:cubicBezTo>
                  <a:cubicBezTo>
                    <a:pt x="122" y="85"/>
                    <a:pt x="122" y="85"/>
                    <a:pt x="122" y="85"/>
                  </a:cubicBezTo>
                  <a:cubicBezTo>
                    <a:pt x="122" y="86"/>
                    <a:pt x="121" y="86"/>
                    <a:pt x="120" y="8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1" name="Freeform 6"/>
            <p:cNvSpPr>
              <a:spLocks noEditPoints="1"/>
            </p:cNvSpPr>
            <p:nvPr/>
          </p:nvSpPr>
          <p:spPr bwMode="auto">
            <a:xfrm>
              <a:off x="5503863" y="2962276"/>
              <a:ext cx="576262" cy="55563"/>
            </a:xfrm>
            <a:custGeom>
              <a:avLst/>
              <a:gdLst>
                <a:gd name="T0" fmla="*/ 4 w 154"/>
                <a:gd name="T1" fmla="*/ 2 h 15"/>
                <a:gd name="T2" fmla="*/ 3 w 154"/>
                <a:gd name="T3" fmla="*/ 3 h 15"/>
                <a:gd name="T4" fmla="*/ 3 w 154"/>
                <a:gd name="T5" fmla="*/ 5 h 15"/>
                <a:gd name="T6" fmla="*/ 12 w 154"/>
                <a:gd name="T7" fmla="*/ 12 h 15"/>
                <a:gd name="T8" fmla="*/ 142 w 154"/>
                <a:gd name="T9" fmla="*/ 12 h 15"/>
                <a:gd name="T10" fmla="*/ 151 w 154"/>
                <a:gd name="T11" fmla="*/ 5 h 15"/>
                <a:gd name="T12" fmla="*/ 151 w 154"/>
                <a:gd name="T13" fmla="*/ 3 h 15"/>
                <a:gd name="T14" fmla="*/ 149 w 154"/>
                <a:gd name="T15" fmla="*/ 2 h 15"/>
                <a:gd name="T16" fmla="*/ 4 w 154"/>
                <a:gd name="T17" fmla="*/ 2 h 15"/>
                <a:gd name="T18" fmla="*/ 142 w 154"/>
                <a:gd name="T19" fmla="*/ 15 h 15"/>
                <a:gd name="T20" fmla="*/ 12 w 154"/>
                <a:gd name="T21" fmla="*/ 15 h 15"/>
                <a:gd name="T22" fmla="*/ 0 w 154"/>
                <a:gd name="T23" fmla="*/ 6 h 15"/>
                <a:gd name="T24" fmla="*/ 1 w 154"/>
                <a:gd name="T25" fmla="*/ 2 h 15"/>
                <a:gd name="T26" fmla="*/ 4 w 154"/>
                <a:gd name="T27" fmla="*/ 0 h 15"/>
                <a:gd name="T28" fmla="*/ 149 w 154"/>
                <a:gd name="T29" fmla="*/ 0 h 15"/>
                <a:gd name="T30" fmla="*/ 153 w 154"/>
                <a:gd name="T31" fmla="*/ 2 h 15"/>
                <a:gd name="T32" fmla="*/ 153 w 154"/>
                <a:gd name="T33" fmla="*/ 6 h 15"/>
                <a:gd name="T34" fmla="*/ 142 w 154"/>
                <a:gd name="T3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4" h="15">
                  <a:moveTo>
                    <a:pt x="4" y="2"/>
                  </a:moveTo>
                  <a:cubicBezTo>
                    <a:pt x="4" y="2"/>
                    <a:pt x="3" y="3"/>
                    <a:pt x="3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4" y="10"/>
                    <a:pt x="8" y="12"/>
                    <a:pt x="12" y="12"/>
                  </a:cubicBezTo>
                  <a:cubicBezTo>
                    <a:pt x="142" y="12"/>
                    <a:pt x="142" y="12"/>
                    <a:pt x="142" y="12"/>
                  </a:cubicBezTo>
                  <a:cubicBezTo>
                    <a:pt x="146" y="12"/>
                    <a:pt x="149" y="10"/>
                    <a:pt x="151" y="5"/>
                  </a:cubicBezTo>
                  <a:cubicBezTo>
                    <a:pt x="151" y="4"/>
                    <a:pt x="151" y="4"/>
                    <a:pt x="151" y="3"/>
                  </a:cubicBezTo>
                  <a:cubicBezTo>
                    <a:pt x="150" y="3"/>
                    <a:pt x="150" y="2"/>
                    <a:pt x="149" y="2"/>
                  </a:cubicBezTo>
                  <a:lnTo>
                    <a:pt x="4" y="2"/>
                  </a:lnTo>
                  <a:close/>
                  <a:moveTo>
                    <a:pt x="142" y="15"/>
                  </a:moveTo>
                  <a:cubicBezTo>
                    <a:pt x="12" y="15"/>
                    <a:pt x="12" y="15"/>
                    <a:pt x="12" y="15"/>
                  </a:cubicBezTo>
                  <a:cubicBezTo>
                    <a:pt x="7" y="15"/>
                    <a:pt x="2" y="11"/>
                    <a:pt x="0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1" y="0"/>
                    <a:pt x="152" y="0"/>
                    <a:pt x="153" y="2"/>
                  </a:cubicBezTo>
                  <a:cubicBezTo>
                    <a:pt x="154" y="3"/>
                    <a:pt x="154" y="5"/>
                    <a:pt x="153" y="6"/>
                  </a:cubicBezTo>
                  <a:cubicBezTo>
                    <a:pt x="152" y="11"/>
                    <a:pt x="147" y="15"/>
                    <a:pt x="142" y="1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2" name="Freeform 7"/>
            <p:cNvSpPr>
              <a:spLocks noEditPoints="1"/>
            </p:cNvSpPr>
            <p:nvPr/>
          </p:nvSpPr>
          <p:spPr bwMode="auto">
            <a:xfrm>
              <a:off x="5597525" y="2687638"/>
              <a:ext cx="385762" cy="244475"/>
            </a:xfrm>
            <a:custGeom>
              <a:avLst/>
              <a:gdLst>
                <a:gd name="T0" fmla="*/ 3 w 103"/>
                <a:gd name="T1" fmla="*/ 62 h 65"/>
                <a:gd name="T2" fmla="*/ 101 w 103"/>
                <a:gd name="T3" fmla="*/ 62 h 65"/>
                <a:gd name="T4" fmla="*/ 101 w 103"/>
                <a:gd name="T5" fmla="*/ 6 h 65"/>
                <a:gd name="T6" fmla="*/ 97 w 103"/>
                <a:gd name="T7" fmla="*/ 3 h 65"/>
                <a:gd name="T8" fmla="*/ 6 w 103"/>
                <a:gd name="T9" fmla="*/ 3 h 65"/>
                <a:gd name="T10" fmla="*/ 3 w 103"/>
                <a:gd name="T11" fmla="*/ 6 h 65"/>
                <a:gd name="T12" fmla="*/ 3 w 103"/>
                <a:gd name="T13" fmla="*/ 62 h 65"/>
                <a:gd name="T14" fmla="*/ 102 w 103"/>
                <a:gd name="T15" fmla="*/ 65 h 65"/>
                <a:gd name="T16" fmla="*/ 2 w 103"/>
                <a:gd name="T17" fmla="*/ 65 h 65"/>
                <a:gd name="T18" fmla="*/ 0 w 103"/>
                <a:gd name="T19" fmla="*/ 64 h 65"/>
                <a:gd name="T20" fmla="*/ 0 w 103"/>
                <a:gd name="T21" fmla="*/ 6 h 65"/>
                <a:gd name="T22" fmla="*/ 6 w 103"/>
                <a:gd name="T23" fmla="*/ 0 h 65"/>
                <a:gd name="T24" fmla="*/ 97 w 103"/>
                <a:gd name="T25" fmla="*/ 0 h 65"/>
                <a:gd name="T26" fmla="*/ 103 w 103"/>
                <a:gd name="T27" fmla="*/ 6 h 65"/>
                <a:gd name="T28" fmla="*/ 103 w 103"/>
                <a:gd name="T29" fmla="*/ 64 h 65"/>
                <a:gd name="T30" fmla="*/ 102 w 103"/>
                <a:gd name="T3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3" h="65">
                  <a:moveTo>
                    <a:pt x="3" y="62"/>
                  </a:moveTo>
                  <a:cubicBezTo>
                    <a:pt x="101" y="62"/>
                    <a:pt x="101" y="62"/>
                    <a:pt x="101" y="62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101" y="4"/>
                    <a:pt x="99" y="3"/>
                    <a:pt x="97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3" y="4"/>
                    <a:pt x="3" y="6"/>
                  </a:cubicBezTo>
                  <a:lnTo>
                    <a:pt x="3" y="62"/>
                  </a:lnTo>
                  <a:close/>
                  <a:moveTo>
                    <a:pt x="102" y="65"/>
                  </a:moveTo>
                  <a:cubicBezTo>
                    <a:pt x="2" y="65"/>
                    <a:pt x="2" y="65"/>
                    <a:pt x="2" y="65"/>
                  </a:cubicBezTo>
                  <a:cubicBezTo>
                    <a:pt x="1" y="65"/>
                    <a:pt x="0" y="64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1" y="0"/>
                    <a:pt x="103" y="3"/>
                    <a:pt x="103" y="6"/>
                  </a:cubicBezTo>
                  <a:cubicBezTo>
                    <a:pt x="103" y="64"/>
                    <a:pt x="103" y="64"/>
                    <a:pt x="103" y="64"/>
                  </a:cubicBezTo>
                  <a:cubicBezTo>
                    <a:pt x="103" y="64"/>
                    <a:pt x="103" y="65"/>
                    <a:pt x="102" y="6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90" name="Freeform 8"/>
            <p:cNvSpPr>
              <a:spLocks noEditPoints="1"/>
            </p:cNvSpPr>
            <p:nvPr/>
          </p:nvSpPr>
          <p:spPr bwMode="auto">
            <a:xfrm>
              <a:off x="5738813" y="2763838"/>
              <a:ext cx="101600" cy="96838"/>
            </a:xfrm>
            <a:custGeom>
              <a:avLst/>
              <a:gdLst>
                <a:gd name="T0" fmla="*/ 13 w 27"/>
                <a:gd name="T1" fmla="*/ 15 h 26"/>
                <a:gd name="T2" fmla="*/ 14 w 27"/>
                <a:gd name="T3" fmla="*/ 15 h 26"/>
                <a:gd name="T4" fmla="*/ 22 w 27"/>
                <a:gd name="T5" fmla="*/ 23 h 26"/>
                <a:gd name="T6" fmla="*/ 24 w 27"/>
                <a:gd name="T7" fmla="*/ 21 h 26"/>
                <a:gd name="T8" fmla="*/ 16 w 27"/>
                <a:gd name="T9" fmla="*/ 13 h 26"/>
                <a:gd name="T10" fmla="*/ 16 w 27"/>
                <a:gd name="T11" fmla="*/ 12 h 26"/>
                <a:gd name="T12" fmla="*/ 16 w 27"/>
                <a:gd name="T13" fmla="*/ 11 h 26"/>
                <a:gd name="T14" fmla="*/ 19 w 27"/>
                <a:gd name="T15" fmla="*/ 7 h 26"/>
                <a:gd name="T16" fmla="*/ 4 w 27"/>
                <a:gd name="T17" fmla="*/ 3 h 26"/>
                <a:gd name="T18" fmla="*/ 8 w 27"/>
                <a:gd name="T19" fmla="*/ 19 h 26"/>
                <a:gd name="T20" fmla="*/ 12 w 27"/>
                <a:gd name="T21" fmla="*/ 15 h 26"/>
                <a:gd name="T22" fmla="*/ 13 w 27"/>
                <a:gd name="T23" fmla="*/ 15 h 26"/>
                <a:gd name="T24" fmla="*/ 22 w 27"/>
                <a:gd name="T25" fmla="*/ 26 h 26"/>
                <a:gd name="T26" fmla="*/ 21 w 27"/>
                <a:gd name="T27" fmla="*/ 26 h 26"/>
                <a:gd name="T28" fmla="*/ 13 w 27"/>
                <a:gd name="T29" fmla="*/ 18 h 26"/>
                <a:gd name="T30" fmla="*/ 9 w 27"/>
                <a:gd name="T31" fmla="*/ 22 h 26"/>
                <a:gd name="T32" fmla="*/ 7 w 27"/>
                <a:gd name="T33" fmla="*/ 22 h 26"/>
                <a:gd name="T34" fmla="*/ 6 w 27"/>
                <a:gd name="T35" fmla="*/ 21 h 26"/>
                <a:gd name="T36" fmla="*/ 0 w 27"/>
                <a:gd name="T37" fmla="*/ 1 h 26"/>
                <a:gd name="T38" fmla="*/ 1 w 27"/>
                <a:gd name="T39" fmla="*/ 0 h 26"/>
                <a:gd name="T40" fmla="*/ 2 w 27"/>
                <a:gd name="T41" fmla="*/ 0 h 26"/>
                <a:gd name="T42" fmla="*/ 22 w 27"/>
                <a:gd name="T43" fmla="*/ 6 h 26"/>
                <a:gd name="T44" fmla="*/ 23 w 27"/>
                <a:gd name="T45" fmla="*/ 7 h 26"/>
                <a:gd name="T46" fmla="*/ 23 w 27"/>
                <a:gd name="T47" fmla="*/ 8 h 26"/>
                <a:gd name="T48" fmla="*/ 19 w 27"/>
                <a:gd name="T49" fmla="*/ 12 h 26"/>
                <a:gd name="T50" fmla="*/ 27 w 27"/>
                <a:gd name="T51" fmla="*/ 20 h 26"/>
                <a:gd name="T52" fmla="*/ 27 w 27"/>
                <a:gd name="T53" fmla="*/ 21 h 26"/>
                <a:gd name="T54" fmla="*/ 27 w 27"/>
                <a:gd name="T55" fmla="*/ 22 h 26"/>
                <a:gd name="T56" fmla="*/ 22 w 27"/>
                <a:gd name="T57" fmla="*/ 26 h 26"/>
                <a:gd name="T58" fmla="*/ 22 w 27"/>
                <a:gd name="T5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" h="26">
                  <a:moveTo>
                    <a:pt x="13" y="15"/>
                  </a:moveTo>
                  <a:cubicBezTo>
                    <a:pt x="13" y="15"/>
                    <a:pt x="13" y="15"/>
                    <a:pt x="14" y="15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3" y="15"/>
                  </a:cubicBezTo>
                  <a:moveTo>
                    <a:pt x="22" y="26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8" y="22"/>
                    <a:pt x="7" y="22"/>
                  </a:cubicBezTo>
                  <a:cubicBezTo>
                    <a:pt x="7" y="22"/>
                    <a:pt x="7" y="22"/>
                    <a:pt x="6" y="2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3" y="6"/>
                    <a:pt x="23" y="7"/>
                  </a:cubicBezTo>
                  <a:cubicBezTo>
                    <a:pt x="23" y="7"/>
                    <a:pt x="23" y="7"/>
                    <a:pt x="23" y="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0"/>
                    <a:pt x="27" y="20"/>
                    <a:pt x="27" y="21"/>
                  </a:cubicBezTo>
                  <a:cubicBezTo>
                    <a:pt x="27" y="21"/>
                    <a:pt x="27" y="21"/>
                    <a:pt x="27" y="22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</p:grpSp>
    </p:spTree>
    <p:extLst>
      <p:ext uri="{BB962C8B-B14F-4D97-AF65-F5344CB8AC3E}">
        <p14:creationId xmlns:p14="http://schemas.microsoft.com/office/powerpoint/2010/main" val="11722891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44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14" r="32686" b="10140"/>
          <a:stretch/>
        </p:blipFill>
        <p:spPr bwMode="auto">
          <a:xfrm>
            <a:off x="8400256" y="2875"/>
            <a:ext cx="3791744" cy="685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8400256" y="0"/>
            <a:ext cx="3791744" cy="6858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3763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400256" y="1316765"/>
            <a:ext cx="307234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381" y="356659"/>
            <a:ext cx="7488832" cy="94611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381" y="1600202"/>
            <a:ext cx="7488832" cy="4709119"/>
          </a:xfrm>
        </p:spPr>
        <p:txBody>
          <a:bodyPr>
            <a:normAutofit/>
          </a:bodyPr>
          <a:lstStyle>
            <a:lvl1pPr>
              <a:defRPr sz="1467"/>
            </a:lvl1pPr>
            <a:lvl2pPr>
              <a:defRPr sz="1333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738D1B-B7CB-48AB-828E-3BBC5D4A4907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© NSW Department of Education | Document title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 dirty="0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89677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6074568"/>
            <a:ext cx="12192000" cy="892221"/>
          </a:xfrm>
          <a:prstGeom prst="rect">
            <a:avLst/>
          </a:prstGeom>
          <a:solidFill>
            <a:srgbClr val="4259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3763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12192000" cy="2276872"/>
          </a:xfrm>
          <a:prstGeom prst="rect">
            <a:avLst/>
          </a:prstGeom>
          <a:solidFill>
            <a:srgbClr val="00AB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3763" dirty="0"/>
          </a:p>
        </p:txBody>
      </p:sp>
      <p:pic>
        <p:nvPicPr>
          <p:cNvPr id="4098" name="Picture 2" descr="C:\Users\johnAq\Desktop\images\DoE_Corporate_PPT_2015_Page_05_Image_0001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01" b="5501"/>
          <a:stretch/>
        </p:blipFill>
        <p:spPr bwMode="auto">
          <a:xfrm>
            <a:off x="0" y="2276872"/>
            <a:ext cx="12192000" cy="3797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383" y="1412776"/>
            <a:ext cx="9697077" cy="864096"/>
          </a:xfrm>
        </p:spPr>
        <p:txBody>
          <a:bodyPr lIns="0" anchor="t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609597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9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9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8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8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8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17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77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1" name="Straight Connector 10"/>
          <p:cNvCxnSpPr>
            <a:endCxn id="14" idx="2"/>
          </p:cNvCxnSpPr>
          <p:nvPr userDrawn="1"/>
        </p:nvCxnSpPr>
        <p:spPr>
          <a:xfrm>
            <a:off x="527381" y="1316765"/>
            <a:ext cx="988909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 userDrawn="1"/>
        </p:nvSpPr>
        <p:spPr>
          <a:xfrm>
            <a:off x="10416480" y="740701"/>
            <a:ext cx="1152128" cy="1152128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3763" dirty="0"/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624536D-FED3-495B-B3FE-54ED69616E85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© NSW Department of Education | </a:t>
            </a:r>
            <a:r>
              <a:rPr lang="en-US" dirty="0"/>
              <a:t>Document title</a:t>
            </a:r>
            <a:endParaRPr lang="en-AU" dirty="0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10730720" y="1138436"/>
            <a:ext cx="523651" cy="337560"/>
            <a:chOff x="5503863" y="2646363"/>
            <a:chExt cx="576262" cy="371476"/>
          </a:xfrm>
          <a:solidFill>
            <a:schemeClr val="bg1"/>
          </a:solidFill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5562600" y="2646363"/>
              <a:ext cx="457200" cy="323850"/>
            </a:xfrm>
            <a:custGeom>
              <a:avLst/>
              <a:gdLst>
                <a:gd name="T0" fmla="*/ 3 w 122"/>
                <a:gd name="T1" fmla="*/ 84 h 86"/>
                <a:gd name="T2" fmla="*/ 119 w 122"/>
                <a:gd name="T3" fmla="*/ 84 h 86"/>
                <a:gd name="T4" fmla="*/ 119 w 122"/>
                <a:gd name="T5" fmla="*/ 10 h 86"/>
                <a:gd name="T6" fmla="*/ 113 w 122"/>
                <a:gd name="T7" fmla="*/ 3 h 86"/>
                <a:gd name="T8" fmla="*/ 9 w 122"/>
                <a:gd name="T9" fmla="*/ 3 h 86"/>
                <a:gd name="T10" fmla="*/ 3 w 122"/>
                <a:gd name="T11" fmla="*/ 10 h 86"/>
                <a:gd name="T12" fmla="*/ 3 w 122"/>
                <a:gd name="T13" fmla="*/ 84 h 86"/>
                <a:gd name="T14" fmla="*/ 120 w 122"/>
                <a:gd name="T15" fmla="*/ 86 h 86"/>
                <a:gd name="T16" fmla="*/ 1 w 122"/>
                <a:gd name="T17" fmla="*/ 86 h 86"/>
                <a:gd name="T18" fmla="*/ 0 w 122"/>
                <a:gd name="T19" fmla="*/ 85 h 86"/>
                <a:gd name="T20" fmla="*/ 0 w 122"/>
                <a:gd name="T21" fmla="*/ 10 h 86"/>
                <a:gd name="T22" fmla="*/ 9 w 122"/>
                <a:gd name="T23" fmla="*/ 0 h 86"/>
                <a:gd name="T24" fmla="*/ 113 w 122"/>
                <a:gd name="T25" fmla="*/ 0 h 86"/>
                <a:gd name="T26" fmla="*/ 122 w 122"/>
                <a:gd name="T27" fmla="*/ 10 h 86"/>
                <a:gd name="T28" fmla="*/ 122 w 122"/>
                <a:gd name="T29" fmla="*/ 85 h 86"/>
                <a:gd name="T30" fmla="*/ 120 w 122"/>
                <a:gd name="T3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" h="86">
                  <a:moveTo>
                    <a:pt x="3" y="84"/>
                  </a:moveTo>
                  <a:cubicBezTo>
                    <a:pt x="119" y="84"/>
                    <a:pt x="119" y="84"/>
                    <a:pt x="119" y="84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6"/>
                    <a:pt x="116" y="3"/>
                    <a:pt x="113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5" y="3"/>
                    <a:pt x="3" y="6"/>
                    <a:pt x="3" y="10"/>
                  </a:cubicBezTo>
                  <a:lnTo>
                    <a:pt x="3" y="84"/>
                  </a:lnTo>
                  <a:close/>
                  <a:moveTo>
                    <a:pt x="120" y="86"/>
                  </a:moveTo>
                  <a:cubicBezTo>
                    <a:pt x="1" y="86"/>
                    <a:pt x="1" y="86"/>
                    <a:pt x="1" y="86"/>
                  </a:cubicBezTo>
                  <a:cubicBezTo>
                    <a:pt x="1" y="86"/>
                    <a:pt x="0" y="86"/>
                    <a:pt x="0" y="85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9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8" y="0"/>
                    <a:pt x="122" y="5"/>
                    <a:pt x="122" y="10"/>
                  </a:cubicBezTo>
                  <a:cubicBezTo>
                    <a:pt x="122" y="85"/>
                    <a:pt x="122" y="85"/>
                    <a:pt x="122" y="85"/>
                  </a:cubicBezTo>
                  <a:cubicBezTo>
                    <a:pt x="122" y="86"/>
                    <a:pt x="121" y="86"/>
                    <a:pt x="120" y="8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17" name="Freeform 6"/>
            <p:cNvSpPr>
              <a:spLocks noEditPoints="1"/>
            </p:cNvSpPr>
            <p:nvPr/>
          </p:nvSpPr>
          <p:spPr bwMode="auto">
            <a:xfrm>
              <a:off x="5503863" y="2962276"/>
              <a:ext cx="576262" cy="55563"/>
            </a:xfrm>
            <a:custGeom>
              <a:avLst/>
              <a:gdLst>
                <a:gd name="T0" fmla="*/ 4 w 154"/>
                <a:gd name="T1" fmla="*/ 2 h 15"/>
                <a:gd name="T2" fmla="*/ 3 w 154"/>
                <a:gd name="T3" fmla="*/ 3 h 15"/>
                <a:gd name="T4" fmla="*/ 3 w 154"/>
                <a:gd name="T5" fmla="*/ 5 h 15"/>
                <a:gd name="T6" fmla="*/ 12 w 154"/>
                <a:gd name="T7" fmla="*/ 12 h 15"/>
                <a:gd name="T8" fmla="*/ 142 w 154"/>
                <a:gd name="T9" fmla="*/ 12 h 15"/>
                <a:gd name="T10" fmla="*/ 151 w 154"/>
                <a:gd name="T11" fmla="*/ 5 h 15"/>
                <a:gd name="T12" fmla="*/ 151 w 154"/>
                <a:gd name="T13" fmla="*/ 3 h 15"/>
                <a:gd name="T14" fmla="*/ 149 w 154"/>
                <a:gd name="T15" fmla="*/ 2 h 15"/>
                <a:gd name="T16" fmla="*/ 4 w 154"/>
                <a:gd name="T17" fmla="*/ 2 h 15"/>
                <a:gd name="T18" fmla="*/ 142 w 154"/>
                <a:gd name="T19" fmla="*/ 15 h 15"/>
                <a:gd name="T20" fmla="*/ 12 w 154"/>
                <a:gd name="T21" fmla="*/ 15 h 15"/>
                <a:gd name="T22" fmla="*/ 0 w 154"/>
                <a:gd name="T23" fmla="*/ 6 h 15"/>
                <a:gd name="T24" fmla="*/ 1 w 154"/>
                <a:gd name="T25" fmla="*/ 2 h 15"/>
                <a:gd name="T26" fmla="*/ 4 w 154"/>
                <a:gd name="T27" fmla="*/ 0 h 15"/>
                <a:gd name="T28" fmla="*/ 149 w 154"/>
                <a:gd name="T29" fmla="*/ 0 h 15"/>
                <a:gd name="T30" fmla="*/ 153 w 154"/>
                <a:gd name="T31" fmla="*/ 2 h 15"/>
                <a:gd name="T32" fmla="*/ 153 w 154"/>
                <a:gd name="T33" fmla="*/ 6 h 15"/>
                <a:gd name="T34" fmla="*/ 142 w 154"/>
                <a:gd name="T3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4" h="15">
                  <a:moveTo>
                    <a:pt x="4" y="2"/>
                  </a:moveTo>
                  <a:cubicBezTo>
                    <a:pt x="4" y="2"/>
                    <a:pt x="3" y="3"/>
                    <a:pt x="3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4" y="10"/>
                    <a:pt x="8" y="12"/>
                    <a:pt x="12" y="12"/>
                  </a:cubicBezTo>
                  <a:cubicBezTo>
                    <a:pt x="142" y="12"/>
                    <a:pt x="142" y="12"/>
                    <a:pt x="142" y="12"/>
                  </a:cubicBezTo>
                  <a:cubicBezTo>
                    <a:pt x="146" y="12"/>
                    <a:pt x="149" y="10"/>
                    <a:pt x="151" y="5"/>
                  </a:cubicBezTo>
                  <a:cubicBezTo>
                    <a:pt x="151" y="4"/>
                    <a:pt x="151" y="4"/>
                    <a:pt x="151" y="3"/>
                  </a:cubicBezTo>
                  <a:cubicBezTo>
                    <a:pt x="150" y="3"/>
                    <a:pt x="150" y="2"/>
                    <a:pt x="149" y="2"/>
                  </a:cubicBezTo>
                  <a:lnTo>
                    <a:pt x="4" y="2"/>
                  </a:lnTo>
                  <a:close/>
                  <a:moveTo>
                    <a:pt x="142" y="15"/>
                  </a:moveTo>
                  <a:cubicBezTo>
                    <a:pt x="12" y="15"/>
                    <a:pt x="12" y="15"/>
                    <a:pt x="12" y="15"/>
                  </a:cubicBezTo>
                  <a:cubicBezTo>
                    <a:pt x="7" y="15"/>
                    <a:pt x="2" y="11"/>
                    <a:pt x="0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1" y="0"/>
                    <a:pt x="152" y="0"/>
                    <a:pt x="153" y="2"/>
                  </a:cubicBezTo>
                  <a:cubicBezTo>
                    <a:pt x="154" y="3"/>
                    <a:pt x="154" y="5"/>
                    <a:pt x="153" y="6"/>
                  </a:cubicBezTo>
                  <a:cubicBezTo>
                    <a:pt x="152" y="11"/>
                    <a:pt x="147" y="15"/>
                    <a:pt x="142" y="1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18" name="Freeform 7"/>
            <p:cNvSpPr>
              <a:spLocks noEditPoints="1"/>
            </p:cNvSpPr>
            <p:nvPr/>
          </p:nvSpPr>
          <p:spPr bwMode="auto">
            <a:xfrm>
              <a:off x="5597525" y="2687638"/>
              <a:ext cx="385762" cy="244475"/>
            </a:xfrm>
            <a:custGeom>
              <a:avLst/>
              <a:gdLst>
                <a:gd name="T0" fmla="*/ 3 w 103"/>
                <a:gd name="T1" fmla="*/ 62 h 65"/>
                <a:gd name="T2" fmla="*/ 101 w 103"/>
                <a:gd name="T3" fmla="*/ 62 h 65"/>
                <a:gd name="T4" fmla="*/ 101 w 103"/>
                <a:gd name="T5" fmla="*/ 6 h 65"/>
                <a:gd name="T6" fmla="*/ 97 w 103"/>
                <a:gd name="T7" fmla="*/ 3 h 65"/>
                <a:gd name="T8" fmla="*/ 6 w 103"/>
                <a:gd name="T9" fmla="*/ 3 h 65"/>
                <a:gd name="T10" fmla="*/ 3 w 103"/>
                <a:gd name="T11" fmla="*/ 6 h 65"/>
                <a:gd name="T12" fmla="*/ 3 w 103"/>
                <a:gd name="T13" fmla="*/ 62 h 65"/>
                <a:gd name="T14" fmla="*/ 102 w 103"/>
                <a:gd name="T15" fmla="*/ 65 h 65"/>
                <a:gd name="T16" fmla="*/ 2 w 103"/>
                <a:gd name="T17" fmla="*/ 65 h 65"/>
                <a:gd name="T18" fmla="*/ 0 w 103"/>
                <a:gd name="T19" fmla="*/ 64 h 65"/>
                <a:gd name="T20" fmla="*/ 0 w 103"/>
                <a:gd name="T21" fmla="*/ 6 h 65"/>
                <a:gd name="T22" fmla="*/ 6 w 103"/>
                <a:gd name="T23" fmla="*/ 0 h 65"/>
                <a:gd name="T24" fmla="*/ 97 w 103"/>
                <a:gd name="T25" fmla="*/ 0 h 65"/>
                <a:gd name="T26" fmla="*/ 103 w 103"/>
                <a:gd name="T27" fmla="*/ 6 h 65"/>
                <a:gd name="T28" fmla="*/ 103 w 103"/>
                <a:gd name="T29" fmla="*/ 64 h 65"/>
                <a:gd name="T30" fmla="*/ 102 w 103"/>
                <a:gd name="T3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3" h="65">
                  <a:moveTo>
                    <a:pt x="3" y="62"/>
                  </a:moveTo>
                  <a:cubicBezTo>
                    <a:pt x="101" y="62"/>
                    <a:pt x="101" y="62"/>
                    <a:pt x="101" y="62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101" y="4"/>
                    <a:pt x="99" y="3"/>
                    <a:pt x="97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3" y="4"/>
                    <a:pt x="3" y="6"/>
                  </a:cubicBezTo>
                  <a:lnTo>
                    <a:pt x="3" y="62"/>
                  </a:lnTo>
                  <a:close/>
                  <a:moveTo>
                    <a:pt x="102" y="65"/>
                  </a:moveTo>
                  <a:cubicBezTo>
                    <a:pt x="2" y="65"/>
                    <a:pt x="2" y="65"/>
                    <a:pt x="2" y="65"/>
                  </a:cubicBezTo>
                  <a:cubicBezTo>
                    <a:pt x="1" y="65"/>
                    <a:pt x="0" y="64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1" y="0"/>
                    <a:pt x="103" y="3"/>
                    <a:pt x="103" y="6"/>
                  </a:cubicBezTo>
                  <a:cubicBezTo>
                    <a:pt x="103" y="64"/>
                    <a:pt x="103" y="64"/>
                    <a:pt x="103" y="64"/>
                  </a:cubicBezTo>
                  <a:cubicBezTo>
                    <a:pt x="103" y="64"/>
                    <a:pt x="103" y="65"/>
                    <a:pt x="102" y="6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5738813" y="2763838"/>
              <a:ext cx="101600" cy="96838"/>
            </a:xfrm>
            <a:custGeom>
              <a:avLst/>
              <a:gdLst>
                <a:gd name="T0" fmla="*/ 13 w 27"/>
                <a:gd name="T1" fmla="*/ 15 h 26"/>
                <a:gd name="T2" fmla="*/ 14 w 27"/>
                <a:gd name="T3" fmla="*/ 15 h 26"/>
                <a:gd name="T4" fmla="*/ 22 w 27"/>
                <a:gd name="T5" fmla="*/ 23 h 26"/>
                <a:gd name="T6" fmla="*/ 24 w 27"/>
                <a:gd name="T7" fmla="*/ 21 h 26"/>
                <a:gd name="T8" fmla="*/ 16 w 27"/>
                <a:gd name="T9" fmla="*/ 13 h 26"/>
                <a:gd name="T10" fmla="*/ 16 w 27"/>
                <a:gd name="T11" fmla="*/ 12 h 26"/>
                <a:gd name="T12" fmla="*/ 16 w 27"/>
                <a:gd name="T13" fmla="*/ 11 h 26"/>
                <a:gd name="T14" fmla="*/ 19 w 27"/>
                <a:gd name="T15" fmla="*/ 7 h 26"/>
                <a:gd name="T16" fmla="*/ 4 w 27"/>
                <a:gd name="T17" fmla="*/ 3 h 26"/>
                <a:gd name="T18" fmla="*/ 8 w 27"/>
                <a:gd name="T19" fmla="*/ 19 h 26"/>
                <a:gd name="T20" fmla="*/ 12 w 27"/>
                <a:gd name="T21" fmla="*/ 15 h 26"/>
                <a:gd name="T22" fmla="*/ 13 w 27"/>
                <a:gd name="T23" fmla="*/ 15 h 26"/>
                <a:gd name="T24" fmla="*/ 22 w 27"/>
                <a:gd name="T25" fmla="*/ 26 h 26"/>
                <a:gd name="T26" fmla="*/ 21 w 27"/>
                <a:gd name="T27" fmla="*/ 26 h 26"/>
                <a:gd name="T28" fmla="*/ 13 w 27"/>
                <a:gd name="T29" fmla="*/ 18 h 26"/>
                <a:gd name="T30" fmla="*/ 9 w 27"/>
                <a:gd name="T31" fmla="*/ 22 h 26"/>
                <a:gd name="T32" fmla="*/ 7 w 27"/>
                <a:gd name="T33" fmla="*/ 22 h 26"/>
                <a:gd name="T34" fmla="*/ 6 w 27"/>
                <a:gd name="T35" fmla="*/ 21 h 26"/>
                <a:gd name="T36" fmla="*/ 0 w 27"/>
                <a:gd name="T37" fmla="*/ 1 h 26"/>
                <a:gd name="T38" fmla="*/ 1 w 27"/>
                <a:gd name="T39" fmla="*/ 0 h 26"/>
                <a:gd name="T40" fmla="*/ 2 w 27"/>
                <a:gd name="T41" fmla="*/ 0 h 26"/>
                <a:gd name="T42" fmla="*/ 22 w 27"/>
                <a:gd name="T43" fmla="*/ 6 h 26"/>
                <a:gd name="T44" fmla="*/ 23 w 27"/>
                <a:gd name="T45" fmla="*/ 7 h 26"/>
                <a:gd name="T46" fmla="*/ 23 w 27"/>
                <a:gd name="T47" fmla="*/ 8 h 26"/>
                <a:gd name="T48" fmla="*/ 19 w 27"/>
                <a:gd name="T49" fmla="*/ 12 h 26"/>
                <a:gd name="T50" fmla="*/ 27 w 27"/>
                <a:gd name="T51" fmla="*/ 20 h 26"/>
                <a:gd name="T52" fmla="*/ 27 w 27"/>
                <a:gd name="T53" fmla="*/ 21 h 26"/>
                <a:gd name="T54" fmla="*/ 27 w 27"/>
                <a:gd name="T55" fmla="*/ 22 h 26"/>
                <a:gd name="T56" fmla="*/ 22 w 27"/>
                <a:gd name="T57" fmla="*/ 26 h 26"/>
                <a:gd name="T58" fmla="*/ 22 w 27"/>
                <a:gd name="T5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" h="26">
                  <a:moveTo>
                    <a:pt x="13" y="15"/>
                  </a:moveTo>
                  <a:cubicBezTo>
                    <a:pt x="13" y="15"/>
                    <a:pt x="13" y="15"/>
                    <a:pt x="14" y="15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3" y="15"/>
                  </a:cubicBezTo>
                  <a:moveTo>
                    <a:pt x="22" y="26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8" y="22"/>
                    <a:pt x="7" y="22"/>
                  </a:cubicBezTo>
                  <a:cubicBezTo>
                    <a:pt x="7" y="22"/>
                    <a:pt x="7" y="22"/>
                    <a:pt x="6" y="2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3" y="6"/>
                    <a:pt x="23" y="7"/>
                  </a:cubicBezTo>
                  <a:cubicBezTo>
                    <a:pt x="23" y="7"/>
                    <a:pt x="23" y="7"/>
                    <a:pt x="23" y="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0"/>
                    <a:pt x="27" y="20"/>
                    <a:pt x="27" y="21"/>
                  </a:cubicBezTo>
                  <a:cubicBezTo>
                    <a:pt x="27" y="21"/>
                    <a:pt x="27" y="21"/>
                    <a:pt x="27" y="22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</p:grpSp>
    </p:spTree>
    <p:extLst>
      <p:ext uri="{BB962C8B-B14F-4D97-AF65-F5344CB8AC3E}">
        <p14:creationId xmlns:p14="http://schemas.microsoft.com/office/powerpoint/2010/main" val="36783681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27381" y="1316765"/>
            <a:ext cx="1104122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3770954-29DF-465D-BED8-DA6A97ADF9AF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© NSW Department of Education | </a:t>
            </a:r>
            <a:r>
              <a:rPr lang="en-US" dirty="0"/>
              <a:t>Document title</a:t>
            </a:r>
            <a:endParaRPr lang="en-AU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986655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27381" y="1316765"/>
            <a:ext cx="1104122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3770954-29DF-465D-BED8-DA6A97ADF9AF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© NSW Department of Education | </a:t>
            </a:r>
            <a:r>
              <a:rPr lang="en-US" dirty="0"/>
              <a:t>Document title</a:t>
            </a:r>
            <a:endParaRPr lang="en-AU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284659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2" name="Title 206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527381" y="1316765"/>
            <a:ext cx="1104122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6" name="Date Placeholder 206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6A20C-A397-46E0-93A2-33AF0BDEDE49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2067" name="Footer Placeholder 20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© NSW Department of Education | Document title</a:t>
            </a:r>
          </a:p>
        </p:txBody>
      </p:sp>
      <p:sp>
        <p:nvSpPr>
          <p:cNvPr id="2068" name="Slide Number Placeholder 20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 dirty="0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69940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381" y="1571096"/>
            <a:ext cx="5467019" cy="454620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15381" y="1571096"/>
            <a:ext cx="5467019" cy="454620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4CA78-0852-45A1-9770-F7B6F0CEFB67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© NSW Department of Education | Document title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 dirty="0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957537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381" y="274639"/>
            <a:ext cx="11055019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384" y="1535113"/>
            <a:ext cx="5469136" cy="639763"/>
          </a:xfrm>
        </p:spPr>
        <p:txBody>
          <a:bodyPr lIns="0" anchor="b">
            <a:normAutofit/>
          </a:bodyPr>
          <a:lstStyle>
            <a:lvl1pPr marL="0" indent="0">
              <a:buNone/>
              <a:defRPr sz="2667" b="0">
                <a:latin typeface="+mj-lt"/>
              </a:defRPr>
            </a:lvl1pPr>
            <a:lvl2pPr marL="609597" indent="0">
              <a:buNone/>
              <a:defRPr sz="2667" b="1"/>
            </a:lvl2pPr>
            <a:lvl3pPr marL="1219194" indent="0">
              <a:buNone/>
              <a:defRPr sz="2400" b="1"/>
            </a:lvl3pPr>
            <a:lvl4pPr marL="1828790" indent="0">
              <a:buNone/>
              <a:defRPr sz="2133" b="1"/>
            </a:lvl4pPr>
            <a:lvl5pPr marL="2438388" indent="0">
              <a:buNone/>
              <a:defRPr sz="2133" b="1"/>
            </a:lvl5pPr>
            <a:lvl6pPr marL="3047985" indent="0">
              <a:buNone/>
              <a:defRPr sz="2133" b="1"/>
            </a:lvl6pPr>
            <a:lvl7pPr marL="3657582" indent="0">
              <a:buNone/>
              <a:defRPr sz="2133" b="1"/>
            </a:lvl7pPr>
            <a:lvl8pPr marL="4267179" indent="0">
              <a:buNone/>
              <a:defRPr sz="2133" b="1"/>
            </a:lvl8pPr>
            <a:lvl9pPr marL="4876775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7384" y="2174875"/>
            <a:ext cx="5469136" cy="39512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6002" y="1535113"/>
            <a:ext cx="5486401" cy="639763"/>
          </a:xfrm>
        </p:spPr>
        <p:txBody>
          <a:bodyPr lIns="0" anchor="b">
            <a:normAutofit/>
          </a:bodyPr>
          <a:lstStyle>
            <a:lvl1pPr marL="0" indent="0">
              <a:buNone/>
              <a:defRPr sz="2667" b="0">
                <a:latin typeface="+mj-lt"/>
              </a:defRPr>
            </a:lvl1pPr>
            <a:lvl2pPr marL="609597" indent="0">
              <a:buNone/>
              <a:defRPr sz="2667" b="1"/>
            </a:lvl2pPr>
            <a:lvl3pPr marL="1219194" indent="0">
              <a:buNone/>
              <a:defRPr sz="2400" b="1"/>
            </a:lvl3pPr>
            <a:lvl4pPr marL="1828790" indent="0">
              <a:buNone/>
              <a:defRPr sz="2133" b="1"/>
            </a:lvl4pPr>
            <a:lvl5pPr marL="2438388" indent="0">
              <a:buNone/>
              <a:defRPr sz="2133" b="1"/>
            </a:lvl5pPr>
            <a:lvl6pPr marL="3047985" indent="0">
              <a:buNone/>
              <a:defRPr sz="2133" b="1"/>
            </a:lvl6pPr>
            <a:lvl7pPr marL="3657582" indent="0">
              <a:buNone/>
              <a:defRPr sz="2133" b="1"/>
            </a:lvl7pPr>
            <a:lvl8pPr marL="4267179" indent="0">
              <a:buNone/>
              <a:defRPr sz="2133" b="1"/>
            </a:lvl8pPr>
            <a:lvl9pPr marL="4876775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1" y="2174875"/>
            <a:ext cx="5486403" cy="39512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73E1A-1664-4A47-96F5-4972C256BECF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© NSW Department of Education | Document title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 dirty="0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5565485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" name="Picture 4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686177"/>
            <a:ext cx="12192000" cy="4365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3" name="Rectangle 1042"/>
          <p:cNvSpPr/>
          <p:nvPr userDrawn="1"/>
        </p:nvSpPr>
        <p:spPr>
          <a:xfrm>
            <a:off x="0" y="1686177"/>
            <a:ext cx="8976320" cy="4365897"/>
          </a:xfrm>
          <a:prstGeom prst="rect">
            <a:avLst/>
          </a:prstGeom>
          <a:solidFill>
            <a:srgbClr val="00ABC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3763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7381" y="2523539"/>
            <a:ext cx="5822880" cy="1632181"/>
          </a:xfrm>
        </p:spPr>
        <p:txBody>
          <a:bodyPr lIns="0" anchor="b"/>
          <a:lstStyle>
            <a:lvl1pPr>
              <a:defRPr sz="3733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7381" y="4420899"/>
            <a:ext cx="5822880" cy="1174981"/>
          </a:xfrm>
          <a:solidFill>
            <a:srgbClr val="FFFFFF"/>
          </a:solidFill>
        </p:spPr>
        <p:txBody>
          <a:bodyPr lIns="90000" anchor="ctr">
            <a:normAutofit/>
          </a:bodyPr>
          <a:lstStyle>
            <a:lvl1pPr marL="0" indent="0" algn="l"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+mn-lt"/>
              </a:defRPr>
            </a:lvl1pPr>
            <a:lvl2pPr marL="609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AU" dirty="0"/>
          </a:p>
        </p:txBody>
      </p:sp>
      <p:grpSp>
        <p:nvGrpSpPr>
          <p:cNvPr id="53" name="Group 52"/>
          <p:cNvGrpSpPr>
            <a:grpSpLocks noChangeAspect="1"/>
          </p:cNvGrpSpPr>
          <p:nvPr userDrawn="1"/>
        </p:nvGrpSpPr>
        <p:grpSpPr>
          <a:xfrm>
            <a:off x="527382" y="469063"/>
            <a:ext cx="1867805" cy="662572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54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5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6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7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8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9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0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1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2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3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4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5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6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7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8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9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0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1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2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3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4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5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6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7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8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9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0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1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2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3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4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5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6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7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8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9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</p:grpSp>
      <p:cxnSp>
        <p:nvCxnSpPr>
          <p:cNvPr id="1045" name="Straight Connector 1044"/>
          <p:cNvCxnSpPr/>
          <p:nvPr userDrawn="1"/>
        </p:nvCxnSpPr>
        <p:spPr>
          <a:xfrm>
            <a:off x="527381" y="4189524"/>
            <a:ext cx="6624736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7" name="Oval 1046"/>
          <p:cNvSpPr/>
          <p:nvPr userDrawn="1"/>
        </p:nvSpPr>
        <p:spPr>
          <a:xfrm>
            <a:off x="7152117" y="3613460"/>
            <a:ext cx="1152128" cy="1152128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3763" dirty="0"/>
          </a:p>
        </p:txBody>
      </p:sp>
      <p:sp>
        <p:nvSpPr>
          <p:cNvPr id="39" name="Date Placeholder 3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6E0129-E971-414F-9C50-133062B87FFC}" type="datetime4">
              <a:rPr lang="en-AU" smtClean="0"/>
              <a:pPr/>
              <a:t>28 November 2018</a:t>
            </a:fld>
            <a:endParaRPr lang="en-AU" dirty="0"/>
          </a:p>
        </p:txBody>
      </p:sp>
      <p:sp>
        <p:nvSpPr>
          <p:cNvPr id="40" name="Footer Placeholder 39"/>
          <p:cNvSpPr>
            <a:spLocks noGrp="1"/>
          </p:cNvSpPr>
          <p:nvPr>
            <p:ph type="ftr" sz="quarter" idx="11"/>
          </p:nvPr>
        </p:nvSpPr>
        <p:spPr>
          <a:xfrm>
            <a:off x="527383" y="6332835"/>
            <a:ext cx="3648407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AU" dirty="0"/>
              <a:t>© NSW Department of Education | Document title</a:t>
            </a:r>
          </a:p>
        </p:txBody>
      </p:sp>
      <p:sp>
        <p:nvSpPr>
          <p:cNvPr id="41" name="Slide Number Placeholder 4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AU" dirty="0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  <p:grpSp>
        <p:nvGrpSpPr>
          <p:cNvPr id="49" name="Group 48"/>
          <p:cNvGrpSpPr/>
          <p:nvPr userDrawn="1"/>
        </p:nvGrpSpPr>
        <p:grpSpPr>
          <a:xfrm>
            <a:off x="7466356" y="4020744"/>
            <a:ext cx="523651" cy="337560"/>
            <a:chOff x="5503863" y="2646363"/>
            <a:chExt cx="576262" cy="371476"/>
          </a:xfrm>
          <a:solidFill>
            <a:schemeClr val="bg1"/>
          </a:solidFill>
        </p:grpSpPr>
        <p:sp>
          <p:nvSpPr>
            <p:cNvPr id="50" name="Freeform 5"/>
            <p:cNvSpPr>
              <a:spLocks noEditPoints="1"/>
            </p:cNvSpPr>
            <p:nvPr/>
          </p:nvSpPr>
          <p:spPr bwMode="auto">
            <a:xfrm>
              <a:off x="5562600" y="2646363"/>
              <a:ext cx="457200" cy="323850"/>
            </a:xfrm>
            <a:custGeom>
              <a:avLst/>
              <a:gdLst>
                <a:gd name="T0" fmla="*/ 3 w 122"/>
                <a:gd name="T1" fmla="*/ 84 h 86"/>
                <a:gd name="T2" fmla="*/ 119 w 122"/>
                <a:gd name="T3" fmla="*/ 84 h 86"/>
                <a:gd name="T4" fmla="*/ 119 w 122"/>
                <a:gd name="T5" fmla="*/ 10 h 86"/>
                <a:gd name="T6" fmla="*/ 113 w 122"/>
                <a:gd name="T7" fmla="*/ 3 h 86"/>
                <a:gd name="T8" fmla="*/ 9 w 122"/>
                <a:gd name="T9" fmla="*/ 3 h 86"/>
                <a:gd name="T10" fmla="*/ 3 w 122"/>
                <a:gd name="T11" fmla="*/ 10 h 86"/>
                <a:gd name="T12" fmla="*/ 3 w 122"/>
                <a:gd name="T13" fmla="*/ 84 h 86"/>
                <a:gd name="T14" fmla="*/ 120 w 122"/>
                <a:gd name="T15" fmla="*/ 86 h 86"/>
                <a:gd name="T16" fmla="*/ 1 w 122"/>
                <a:gd name="T17" fmla="*/ 86 h 86"/>
                <a:gd name="T18" fmla="*/ 0 w 122"/>
                <a:gd name="T19" fmla="*/ 85 h 86"/>
                <a:gd name="T20" fmla="*/ 0 w 122"/>
                <a:gd name="T21" fmla="*/ 10 h 86"/>
                <a:gd name="T22" fmla="*/ 9 w 122"/>
                <a:gd name="T23" fmla="*/ 0 h 86"/>
                <a:gd name="T24" fmla="*/ 113 w 122"/>
                <a:gd name="T25" fmla="*/ 0 h 86"/>
                <a:gd name="T26" fmla="*/ 122 w 122"/>
                <a:gd name="T27" fmla="*/ 10 h 86"/>
                <a:gd name="T28" fmla="*/ 122 w 122"/>
                <a:gd name="T29" fmla="*/ 85 h 86"/>
                <a:gd name="T30" fmla="*/ 120 w 122"/>
                <a:gd name="T3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" h="86">
                  <a:moveTo>
                    <a:pt x="3" y="84"/>
                  </a:moveTo>
                  <a:cubicBezTo>
                    <a:pt x="119" y="84"/>
                    <a:pt x="119" y="84"/>
                    <a:pt x="119" y="84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6"/>
                    <a:pt x="116" y="3"/>
                    <a:pt x="113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5" y="3"/>
                    <a:pt x="3" y="6"/>
                    <a:pt x="3" y="10"/>
                  </a:cubicBezTo>
                  <a:lnTo>
                    <a:pt x="3" y="84"/>
                  </a:lnTo>
                  <a:close/>
                  <a:moveTo>
                    <a:pt x="120" y="86"/>
                  </a:moveTo>
                  <a:cubicBezTo>
                    <a:pt x="1" y="86"/>
                    <a:pt x="1" y="86"/>
                    <a:pt x="1" y="86"/>
                  </a:cubicBezTo>
                  <a:cubicBezTo>
                    <a:pt x="1" y="86"/>
                    <a:pt x="0" y="86"/>
                    <a:pt x="0" y="85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9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8" y="0"/>
                    <a:pt x="122" y="5"/>
                    <a:pt x="122" y="10"/>
                  </a:cubicBezTo>
                  <a:cubicBezTo>
                    <a:pt x="122" y="85"/>
                    <a:pt x="122" y="85"/>
                    <a:pt x="122" y="85"/>
                  </a:cubicBezTo>
                  <a:cubicBezTo>
                    <a:pt x="122" y="86"/>
                    <a:pt x="121" y="86"/>
                    <a:pt x="120" y="8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1" name="Freeform 6"/>
            <p:cNvSpPr>
              <a:spLocks noEditPoints="1"/>
            </p:cNvSpPr>
            <p:nvPr/>
          </p:nvSpPr>
          <p:spPr bwMode="auto">
            <a:xfrm>
              <a:off x="5503863" y="2962276"/>
              <a:ext cx="576262" cy="55563"/>
            </a:xfrm>
            <a:custGeom>
              <a:avLst/>
              <a:gdLst>
                <a:gd name="T0" fmla="*/ 4 w 154"/>
                <a:gd name="T1" fmla="*/ 2 h 15"/>
                <a:gd name="T2" fmla="*/ 3 w 154"/>
                <a:gd name="T3" fmla="*/ 3 h 15"/>
                <a:gd name="T4" fmla="*/ 3 w 154"/>
                <a:gd name="T5" fmla="*/ 5 h 15"/>
                <a:gd name="T6" fmla="*/ 12 w 154"/>
                <a:gd name="T7" fmla="*/ 12 h 15"/>
                <a:gd name="T8" fmla="*/ 142 w 154"/>
                <a:gd name="T9" fmla="*/ 12 h 15"/>
                <a:gd name="T10" fmla="*/ 151 w 154"/>
                <a:gd name="T11" fmla="*/ 5 h 15"/>
                <a:gd name="T12" fmla="*/ 151 w 154"/>
                <a:gd name="T13" fmla="*/ 3 h 15"/>
                <a:gd name="T14" fmla="*/ 149 w 154"/>
                <a:gd name="T15" fmla="*/ 2 h 15"/>
                <a:gd name="T16" fmla="*/ 4 w 154"/>
                <a:gd name="T17" fmla="*/ 2 h 15"/>
                <a:gd name="T18" fmla="*/ 142 w 154"/>
                <a:gd name="T19" fmla="*/ 15 h 15"/>
                <a:gd name="T20" fmla="*/ 12 w 154"/>
                <a:gd name="T21" fmla="*/ 15 h 15"/>
                <a:gd name="T22" fmla="*/ 0 w 154"/>
                <a:gd name="T23" fmla="*/ 6 h 15"/>
                <a:gd name="T24" fmla="*/ 1 w 154"/>
                <a:gd name="T25" fmla="*/ 2 h 15"/>
                <a:gd name="T26" fmla="*/ 4 w 154"/>
                <a:gd name="T27" fmla="*/ 0 h 15"/>
                <a:gd name="T28" fmla="*/ 149 w 154"/>
                <a:gd name="T29" fmla="*/ 0 h 15"/>
                <a:gd name="T30" fmla="*/ 153 w 154"/>
                <a:gd name="T31" fmla="*/ 2 h 15"/>
                <a:gd name="T32" fmla="*/ 153 w 154"/>
                <a:gd name="T33" fmla="*/ 6 h 15"/>
                <a:gd name="T34" fmla="*/ 142 w 154"/>
                <a:gd name="T3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4" h="15">
                  <a:moveTo>
                    <a:pt x="4" y="2"/>
                  </a:moveTo>
                  <a:cubicBezTo>
                    <a:pt x="4" y="2"/>
                    <a:pt x="3" y="3"/>
                    <a:pt x="3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4" y="10"/>
                    <a:pt x="8" y="12"/>
                    <a:pt x="12" y="12"/>
                  </a:cubicBezTo>
                  <a:cubicBezTo>
                    <a:pt x="142" y="12"/>
                    <a:pt x="142" y="12"/>
                    <a:pt x="142" y="12"/>
                  </a:cubicBezTo>
                  <a:cubicBezTo>
                    <a:pt x="146" y="12"/>
                    <a:pt x="149" y="10"/>
                    <a:pt x="151" y="5"/>
                  </a:cubicBezTo>
                  <a:cubicBezTo>
                    <a:pt x="151" y="4"/>
                    <a:pt x="151" y="4"/>
                    <a:pt x="151" y="3"/>
                  </a:cubicBezTo>
                  <a:cubicBezTo>
                    <a:pt x="150" y="3"/>
                    <a:pt x="150" y="2"/>
                    <a:pt x="149" y="2"/>
                  </a:cubicBezTo>
                  <a:lnTo>
                    <a:pt x="4" y="2"/>
                  </a:lnTo>
                  <a:close/>
                  <a:moveTo>
                    <a:pt x="142" y="15"/>
                  </a:moveTo>
                  <a:cubicBezTo>
                    <a:pt x="12" y="15"/>
                    <a:pt x="12" y="15"/>
                    <a:pt x="12" y="15"/>
                  </a:cubicBezTo>
                  <a:cubicBezTo>
                    <a:pt x="7" y="15"/>
                    <a:pt x="2" y="11"/>
                    <a:pt x="0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1" y="0"/>
                    <a:pt x="152" y="0"/>
                    <a:pt x="153" y="2"/>
                  </a:cubicBezTo>
                  <a:cubicBezTo>
                    <a:pt x="154" y="3"/>
                    <a:pt x="154" y="5"/>
                    <a:pt x="153" y="6"/>
                  </a:cubicBezTo>
                  <a:cubicBezTo>
                    <a:pt x="152" y="11"/>
                    <a:pt x="147" y="15"/>
                    <a:pt x="142" y="1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2" name="Freeform 7"/>
            <p:cNvSpPr>
              <a:spLocks noEditPoints="1"/>
            </p:cNvSpPr>
            <p:nvPr/>
          </p:nvSpPr>
          <p:spPr bwMode="auto">
            <a:xfrm>
              <a:off x="5597525" y="2687638"/>
              <a:ext cx="385762" cy="244475"/>
            </a:xfrm>
            <a:custGeom>
              <a:avLst/>
              <a:gdLst>
                <a:gd name="T0" fmla="*/ 3 w 103"/>
                <a:gd name="T1" fmla="*/ 62 h 65"/>
                <a:gd name="T2" fmla="*/ 101 w 103"/>
                <a:gd name="T3" fmla="*/ 62 h 65"/>
                <a:gd name="T4" fmla="*/ 101 w 103"/>
                <a:gd name="T5" fmla="*/ 6 h 65"/>
                <a:gd name="T6" fmla="*/ 97 w 103"/>
                <a:gd name="T7" fmla="*/ 3 h 65"/>
                <a:gd name="T8" fmla="*/ 6 w 103"/>
                <a:gd name="T9" fmla="*/ 3 h 65"/>
                <a:gd name="T10" fmla="*/ 3 w 103"/>
                <a:gd name="T11" fmla="*/ 6 h 65"/>
                <a:gd name="T12" fmla="*/ 3 w 103"/>
                <a:gd name="T13" fmla="*/ 62 h 65"/>
                <a:gd name="T14" fmla="*/ 102 w 103"/>
                <a:gd name="T15" fmla="*/ 65 h 65"/>
                <a:gd name="T16" fmla="*/ 2 w 103"/>
                <a:gd name="T17" fmla="*/ 65 h 65"/>
                <a:gd name="T18" fmla="*/ 0 w 103"/>
                <a:gd name="T19" fmla="*/ 64 h 65"/>
                <a:gd name="T20" fmla="*/ 0 w 103"/>
                <a:gd name="T21" fmla="*/ 6 h 65"/>
                <a:gd name="T22" fmla="*/ 6 w 103"/>
                <a:gd name="T23" fmla="*/ 0 h 65"/>
                <a:gd name="T24" fmla="*/ 97 w 103"/>
                <a:gd name="T25" fmla="*/ 0 h 65"/>
                <a:gd name="T26" fmla="*/ 103 w 103"/>
                <a:gd name="T27" fmla="*/ 6 h 65"/>
                <a:gd name="T28" fmla="*/ 103 w 103"/>
                <a:gd name="T29" fmla="*/ 64 h 65"/>
                <a:gd name="T30" fmla="*/ 102 w 103"/>
                <a:gd name="T3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3" h="65">
                  <a:moveTo>
                    <a:pt x="3" y="62"/>
                  </a:moveTo>
                  <a:cubicBezTo>
                    <a:pt x="101" y="62"/>
                    <a:pt x="101" y="62"/>
                    <a:pt x="101" y="62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101" y="4"/>
                    <a:pt x="99" y="3"/>
                    <a:pt x="97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3" y="4"/>
                    <a:pt x="3" y="6"/>
                  </a:cubicBezTo>
                  <a:lnTo>
                    <a:pt x="3" y="62"/>
                  </a:lnTo>
                  <a:close/>
                  <a:moveTo>
                    <a:pt x="102" y="65"/>
                  </a:moveTo>
                  <a:cubicBezTo>
                    <a:pt x="2" y="65"/>
                    <a:pt x="2" y="65"/>
                    <a:pt x="2" y="65"/>
                  </a:cubicBezTo>
                  <a:cubicBezTo>
                    <a:pt x="1" y="65"/>
                    <a:pt x="0" y="64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1" y="0"/>
                    <a:pt x="103" y="3"/>
                    <a:pt x="103" y="6"/>
                  </a:cubicBezTo>
                  <a:cubicBezTo>
                    <a:pt x="103" y="64"/>
                    <a:pt x="103" y="64"/>
                    <a:pt x="103" y="64"/>
                  </a:cubicBezTo>
                  <a:cubicBezTo>
                    <a:pt x="103" y="64"/>
                    <a:pt x="103" y="65"/>
                    <a:pt x="102" y="6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90" name="Freeform 8"/>
            <p:cNvSpPr>
              <a:spLocks noEditPoints="1"/>
            </p:cNvSpPr>
            <p:nvPr/>
          </p:nvSpPr>
          <p:spPr bwMode="auto">
            <a:xfrm>
              <a:off x="5738813" y="2763838"/>
              <a:ext cx="101600" cy="96838"/>
            </a:xfrm>
            <a:custGeom>
              <a:avLst/>
              <a:gdLst>
                <a:gd name="T0" fmla="*/ 13 w 27"/>
                <a:gd name="T1" fmla="*/ 15 h 26"/>
                <a:gd name="T2" fmla="*/ 14 w 27"/>
                <a:gd name="T3" fmla="*/ 15 h 26"/>
                <a:gd name="T4" fmla="*/ 22 w 27"/>
                <a:gd name="T5" fmla="*/ 23 h 26"/>
                <a:gd name="T6" fmla="*/ 24 w 27"/>
                <a:gd name="T7" fmla="*/ 21 h 26"/>
                <a:gd name="T8" fmla="*/ 16 w 27"/>
                <a:gd name="T9" fmla="*/ 13 h 26"/>
                <a:gd name="T10" fmla="*/ 16 w 27"/>
                <a:gd name="T11" fmla="*/ 12 h 26"/>
                <a:gd name="T12" fmla="*/ 16 w 27"/>
                <a:gd name="T13" fmla="*/ 11 h 26"/>
                <a:gd name="T14" fmla="*/ 19 w 27"/>
                <a:gd name="T15" fmla="*/ 7 h 26"/>
                <a:gd name="T16" fmla="*/ 4 w 27"/>
                <a:gd name="T17" fmla="*/ 3 h 26"/>
                <a:gd name="T18" fmla="*/ 8 w 27"/>
                <a:gd name="T19" fmla="*/ 19 h 26"/>
                <a:gd name="T20" fmla="*/ 12 w 27"/>
                <a:gd name="T21" fmla="*/ 15 h 26"/>
                <a:gd name="T22" fmla="*/ 13 w 27"/>
                <a:gd name="T23" fmla="*/ 15 h 26"/>
                <a:gd name="T24" fmla="*/ 22 w 27"/>
                <a:gd name="T25" fmla="*/ 26 h 26"/>
                <a:gd name="T26" fmla="*/ 21 w 27"/>
                <a:gd name="T27" fmla="*/ 26 h 26"/>
                <a:gd name="T28" fmla="*/ 13 w 27"/>
                <a:gd name="T29" fmla="*/ 18 h 26"/>
                <a:gd name="T30" fmla="*/ 9 w 27"/>
                <a:gd name="T31" fmla="*/ 22 h 26"/>
                <a:gd name="T32" fmla="*/ 7 w 27"/>
                <a:gd name="T33" fmla="*/ 22 h 26"/>
                <a:gd name="T34" fmla="*/ 6 w 27"/>
                <a:gd name="T35" fmla="*/ 21 h 26"/>
                <a:gd name="T36" fmla="*/ 0 w 27"/>
                <a:gd name="T37" fmla="*/ 1 h 26"/>
                <a:gd name="T38" fmla="*/ 1 w 27"/>
                <a:gd name="T39" fmla="*/ 0 h 26"/>
                <a:gd name="T40" fmla="*/ 2 w 27"/>
                <a:gd name="T41" fmla="*/ 0 h 26"/>
                <a:gd name="T42" fmla="*/ 22 w 27"/>
                <a:gd name="T43" fmla="*/ 6 h 26"/>
                <a:gd name="T44" fmla="*/ 23 w 27"/>
                <a:gd name="T45" fmla="*/ 7 h 26"/>
                <a:gd name="T46" fmla="*/ 23 w 27"/>
                <a:gd name="T47" fmla="*/ 8 h 26"/>
                <a:gd name="T48" fmla="*/ 19 w 27"/>
                <a:gd name="T49" fmla="*/ 12 h 26"/>
                <a:gd name="T50" fmla="*/ 27 w 27"/>
                <a:gd name="T51" fmla="*/ 20 h 26"/>
                <a:gd name="T52" fmla="*/ 27 w 27"/>
                <a:gd name="T53" fmla="*/ 21 h 26"/>
                <a:gd name="T54" fmla="*/ 27 w 27"/>
                <a:gd name="T55" fmla="*/ 22 h 26"/>
                <a:gd name="T56" fmla="*/ 22 w 27"/>
                <a:gd name="T57" fmla="*/ 26 h 26"/>
                <a:gd name="T58" fmla="*/ 22 w 27"/>
                <a:gd name="T5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" h="26">
                  <a:moveTo>
                    <a:pt x="13" y="15"/>
                  </a:moveTo>
                  <a:cubicBezTo>
                    <a:pt x="13" y="15"/>
                    <a:pt x="13" y="15"/>
                    <a:pt x="14" y="15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3" y="15"/>
                  </a:cubicBezTo>
                  <a:moveTo>
                    <a:pt x="22" y="26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8" y="22"/>
                    <a:pt x="7" y="22"/>
                  </a:cubicBezTo>
                  <a:cubicBezTo>
                    <a:pt x="7" y="22"/>
                    <a:pt x="7" y="22"/>
                    <a:pt x="6" y="2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3" y="6"/>
                    <a:pt x="23" y="7"/>
                  </a:cubicBezTo>
                  <a:cubicBezTo>
                    <a:pt x="23" y="7"/>
                    <a:pt x="23" y="7"/>
                    <a:pt x="23" y="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0"/>
                    <a:pt x="27" y="20"/>
                    <a:pt x="27" y="21"/>
                  </a:cubicBezTo>
                  <a:cubicBezTo>
                    <a:pt x="27" y="21"/>
                    <a:pt x="27" y="21"/>
                    <a:pt x="27" y="22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</p:grpSp>
    </p:spTree>
    <p:extLst>
      <p:ext uri="{BB962C8B-B14F-4D97-AF65-F5344CB8AC3E}">
        <p14:creationId xmlns:p14="http://schemas.microsoft.com/office/powerpoint/2010/main" val="18145884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" name="Picture 44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140"/>
          <a:stretch/>
        </p:blipFill>
        <p:spPr bwMode="auto">
          <a:xfrm>
            <a:off x="0" y="2875"/>
            <a:ext cx="12192000" cy="685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3" name="Rectangle 1042"/>
          <p:cNvSpPr/>
          <p:nvPr userDrawn="1"/>
        </p:nvSpPr>
        <p:spPr>
          <a:xfrm>
            <a:off x="0" y="0"/>
            <a:ext cx="10224459" cy="6858000"/>
          </a:xfrm>
          <a:prstGeom prst="rect">
            <a:avLst/>
          </a:prstGeom>
          <a:solidFill>
            <a:srgbClr val="425968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3763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7381" y="2084851"/>
            <a:ext cx="6991019" cy="1632181"/>
          </a:xfrm>
        </p:spPr>
        <p:txBody>
          <a:bodyPr lIns="0" anchor="b"/>
          <a:lstStyle>
            <a:lvl1pPr>
              <a:defRPr sz="3733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7381" y="3982211"/>
            <a:ext cx="6991019" cy="1174981"/>
          </a:xfrm>
          <a:solidFill>
            <a:srgbClr val="FFFFFF"/>
          </a:solidFill>
        </p:spPr>
        <p:txBody>
          <a:bodyPr lIns="90000" anchor="ctr">
            <a:normAutofit/>
          </a:bodyPr>
          <a:lstStyle>
            <a:lvl1pPr marL="0" indent="0" algn="l">
              <a:spcBef>
                <a:spcPts val="0"/>
              </a:spcBef>
              <a:buNone/>
              <a:defRPr sz="2667">
                <a:solidFill>
                  <a:schemeClr val="accent1"/>
                </a:solidFill>
                <a:latin typeface="+mn-lt"/>
              </a:defRPr>
            </a:lvl1pPr>
            <a:lvl2pPr marL="609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AU" dirty="0"/>
          </a:p>
        </p:txBody>
      </p:sp>
      <p:grpSp>
        <p:nvGrpSpPr>
          <p:cNvPr id="53" name="Group 52"/>
          <p:cNvGrpSpPr>
            <a:grpSpLocks noChangeAspect="1"/>
          </p:cNvGrpSpPr>
          <p:nvPr userDrawn="1"/>
        </p:nvGrpSpPr>
        <p:grpSpPr>
          <a:xfrm>
            <a:off x="527382" y="469063"/>
            <a:ext cx="1867805" cy="662572"/>
            <a:chOff x="-3190875" y="-179387"/>
            <a:chExt cx="15528925" cy="5508625"/>
          </a:xfrm>
        </p:grpSpPr>
        <p:sp>
          <p:nvSpPr>
            <p:cNvPr id="54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5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6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7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8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9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0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1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2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3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4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5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6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7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8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9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0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1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2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3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4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5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6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7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8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9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0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1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2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3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4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5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6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7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8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9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</p:grpSp>
      <p:cxnSp>
        <p:nvCxnSpPr>
          <p:cNvPr id="1045" name="Straight Connector 1044"/>
          <p:cNvCxnSpPr>
            <a:endCxn id="1047" idx="2"/>
          </p:cNvCxnSpPr>
          <p:nvPr userDrawn="1"/>
        </p:nvCxnSpPr>
        <p:spPr>
          <a:xfrm>
            <a:off x="527382" y="3750836"/>
            <a:ext cx="768085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7" name="Oval 1046"/>
          <p:cNvSpPr/>
          <p:nvPr userDrawn="1"/>
        </p:nvSpPr>
        <p:spPr>
          <a:xfrm>
            <a:off x="8208235" y="3174772"/>
            <a:ext cx="1152128" cy="1152128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3763" dirty="0"/>
          </a:p>
        </p:txBody>
      </p:sp>
      <p:sp>
        <p:nvSpPr>
          <p:cNvPr id="39" name="Date Placeholder 3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46E0129-E971-414F-9C50-133062B87FFC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40" name="Footer Placeholder 39"/>
          <p:cNvSpPr>
            <a:spLocks noGrp="1"/>
          </p:cNvSpPr>
          <p:nvPr>
            <p:ph type="ftr" sz="quarter" idx="11"/>
          </p:nvPr>
        </p:nvSpPr>
        <p:spPr>
          <a:xfrm>
            <a:off x="527383" y="6332835"/>
            <a:ext cx="364840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© NSW Department of Education | </a:t>
            </a:r>
            <a:r>
              <a:rPr lang="en-US" dirty="0"/>
              <a:t>Document title</a:t>
            </a:r>
            <a:endParaRPr lang="en-AU" dirty="0"/>
          </a:p>
        </p:txBody>
      </p:sp>
      <p:sp>
        <p:nvSpPr>
          <p:cNvPr id="41" name="Slide Number Placeholder 4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  <p:grpSp>
        <p:nvGrpSpPr>
          <p:cNvPr id="49" name="Group 48"/>
          <p:cNvGrpSpPr/>
          <p:nvPr userDrawn="1"/>
        </p:nvGrpSpPr>
        <p:grpSpPr>
          <a:xfrm>
            <a:off x="8522473" y="3582056"/>
            <a:ext cx="523651" cy="337560"/>
            <a:chOff x="5503863" y="2646363"/>
            <a:chExt cx="576262" cy="371476"/>
          </a:xfrm>
          <a:solidFill>
            <a:schemeClr val="bg1"/>
          </a:solidFill>
        </p:grpSpPr>
        <p:sp>
          <p:nvSpPr>
            <p:cNvPr id="50" name="Freeform 5"/>
            <p:cNvSpPr>
              <a:spLocks noEditPoints="1"/>
            </p:cNvSpPr>
            <p:nvPr/>
          </p:nvSpPr>
          <p:spPr bwMode="auto">
            <a:xfrm>
              <a:off x="5562600" y="2646363"/>
              <a:ext cx="457200" cy="323850"/>
            </a:xfrm>
            <a:custGeom>
              <a:avLst/>
              <a:gdLst>
                <a:gd name="T0" fmla="*/ 3 w 122"/>
                <a:gd name="T1" fmla="*/ 84 h 86"/>
                <a:gd name="T2" fmla="*/ 119 w 122"/>
                <a:gd name="T3" fmla="*/ 84 h 86"/>
                <a:gd name="T4" fmla="*/ 119 w 122"/>
                <a:gd name="T5" fmla="*/ 10 h 86"/>
                <a:gd name="T6" fmla="*/ 113 w 122"/>
                <a:gd name="T7" fmla="*/ 3 h 86"/>
                <a:gd name="T8" fmla="*/ 9 w 122"/>
                <a:gd name="T9" fmla="*/ 3 h 86"/>
                <a:gd name="T10" fmla="*/ 3 w 122"/>
                <a:gd name="T11" fmla="*/ 10 h 86"/>
                <a:gd name="T12" fmla="*/ 3 w 122"/>
                <a:gd name="T13" fmla="*/ 84 h 86"/>
                <a:gd name="T14" fmla="*/ 120 w 122"/>
                <a:gd name="T15" fmla="*/ 86 h 86"/>
                <a:gd name="T16" fmla="*/ 1 w 122"/>
                <a:gd name="T17" fmla="*/ 86 h 86"/>
                <a:gd name="T18" fmla="*/ 0 w 122"/>
                <a:gd name="T19" fmla="*/ 85 h 86"/>
                <a:gd name="T20" fmla="*/ 0 w 122"/>
                <a:gd name="T21" fmla="*/ 10 h 86"/>
                <a:gd name="T22" fmla="*/ 9 w 122"/>
                <a:gd name="T23" fmla="*/ 0 h 86"/>
                <a:gd name="T24" fmla="*/ 113 w 122"/>
                <a:gd name="T25" fmla="*/ 0 h 86"/>
                <a:gd name="T26" fmla="*/ 122 w 122"/>
                <a:gd name="T27" fmla="*/ 10 h 86"/>
                <a:gd name="T28" fmla="*/ 122 w 122"/>
                <a:gd name="T29" fmla="*/ 85 h 86"/>
                <a:gd name="T30" fmla="*/ 120 w 122"/>
                <a:gd name="T3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" h="86">
                  <a:moveTo>
                    <a:pt x="3" y="84"/>
                  </a:moveTo>
                  <a:cubicBezTo>
                    <a:pt x="119" y="84"/>
                    <a:pt x="119" y="84"/>
                    <a:pt x="119" y="84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6"/>
                    <a:pt x="116" y="3"/>
                    <a:pt x="113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5" y="3"/>
                    <a:pt x="3" y="6"/>
                    <a:pt x="3" y="10"/>
                  </a:cubicBezTo>
                  <a:lnTo>
                    <a:pt x="3" y="84"/>
                  </a:lnTo>
                  <a:close/>
                  <a:moveTo>
                    <a:pt x="120" y="86"/>
                  </a:moveTo>
                  <a:cubicBezTo>
                    <a:pt x="1" y="86"/>
                    <a:pt x="1" y="86"/>
                    <a:pt x="1" y="86"/>
                  </a:cubicBezTo>
                  <a:cubicBezTo>
                    <a:pt x="1" y="86"/>
                    <a:pt x="0" y="86"/>
                    <a:pt x="0" y="85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9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8" y="0"/>
                    <a:pt x="122" y="5"/>
                    <a:pt x="122" y="10"/>
                  </a:cubicBezTo>
                  <a:cubicBezTo>
                    <a:pt x="122" y="85"/>
                    <a:pt x="122" y="85"/>
                    <a:pt x="122" y="85"/>
                  </a:cubicBezTo>
                  <a:cubicBezTo>
                    <a:pt x="122" y="86"/>
                    <a:pt x="121" y="86"/>
                    <a:pt x="120" y="8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1" name="Freeform 6"/>
            <p:cNvSpPr>
              <a:spLocks noEditPoints="1"/>
            </p:cNvSpPr>
            <p:nvPr/>
          </p:nvSpPr>
          <p:spPr bwMode="auto">
            <a:xfrm>
              <a:off x="5503863" y="2962276"/>
              <a:ext cx="576262" cy="55563"/>
            </a:xfrm>
            <a:custGeom>
              <a:avLst/>
              <a:gdLst>
                <a:gd name="T0" fmla="*/ 4 w 154"/>
                <a:gd name="T1" fmla="*/ 2 h 15"/>
                <a:gd name="T2" fmla="*/ 3 w 154"/>
                <a:gd name="T3" fmla="*/ 3 h 15"/>
                <a:gd name="T4" fmla="*/ 3 w 154"/>
                <a:gd name="T5" fmla="*/ 5 h 15"/>
                <a:gd name="T6" fmla="*/ 12 w 154"/>
                <a:gd name="T7" fmla="*/ 12 h 15"/>
                <a:gd name="T8" fmla="*/ 142 w 154"/>
                <a:gd name="T9" fmla="*/ 12 h 15"/>
                <a:gd name="T10" fmla="*/ 151 w 154"/>
                <a:gd name="T11" fmla="*/ 5 h 15"/>
                <a:gd name="T12" fmla="*/ 151 w 154"/>
                <a:gd name="T13" fmla="*/ 3 h 15"/>
                <a:gd name="T14" fmla="*/ 149 w 154"/>
                <a:gd name="T15" fmla="*/ 2 h 15"/>
                <a:gd name="T16" fmla="*/ 4 w 154"/>
                <a:gd name="T17" fmla="*/ 2 h 15"/>
                <a:gd name="T18" fmla="*/ 142 w 154"/>
                <a:gd name="T19" fmla="*/ 15 h 15"/>
                <a:gd name="T20" fmla="*/ 12 w 154"/>
                <a:gd name="T21" fmla="*/ 15 h 15"/>
                <a:gd name="T22" fmla="*/ 0 w 154"/>
                <a:gd name="T23" fmla="*/ 6 h 15"/>
                <a:gd name="T24" fmla="*/ 1 w 154"/>
                <a:gd name="T25" fmla="*/ 2 h 15"/>
                <a:gd name="T26" fmla="*/ 4 w 154"/>
                <a:gd name="T27" fmla="*/ 0 h 15"/>
                <a:gd name="T28" fmla="*/ 149 w 154"/>
                <a:gd name="T29" fmla="*/ 0 h 15"/>
                <a:gd name="T30" fmla="*/ 153 w 154"/>
                <a:gd name="T31" fmla="*/ 2 h 15"/>
                <a:gd name="T32" fmla="*/ 153 w 154"/>
                <a:gd name="T33" fmla="*/ 6 h 15"/>
                <a:gd name="T34" fmla="*/ 142 w 154"/>
                <a:gd name="T3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4" h="15">
                  <a:moveTo>
                    <a:pt x="4" y="2"/>
                  </a:moveTo>
                  <a:cubicBezTo>
                    <a:pt x="4" y="2"/>
                    <a:pt x="3" y="3"/>
                    <a:pt x="3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4" y="10"/>
                    <a:pt x="8" y="12"/>
                    <a:pt x="12" y="12"/>
                  </a:cubicBezTo>
                  <a:cubicBezTo>
                    <a:pt x="142" y="12"/>
                    <a:pt x="142" y="12"/>
                    <a:pt x="142" y="12"/>
                  </a:cubicBezTo>
                  <a:cubicBezTo>
                    <a:pt x="146" y="12"/>
                    <a:pt x="149" y="10"/>
                    <a:pt x="151" y="5"/>
                  </a:cubicBezTo>
                  <a:cubicBezTo>
                    <a:pt x="151" y="4"/>
                    <a:pt x="151" y="4"/>
                    <a:pt x="151" y="3"/>
                  </a:cubicBezTo>
                  <a:cubicBezTo>
                    <a:pt x="150" y="3"/>
                    <a:pt x="150" y="2"/>
                    <a:pt x="149" y="2"/>
                  </a:cubicBezTo>
                  <a:lnTo>
                    <a:pt x="4" y="2"/>
                  </a:lnTo>
                  <a:close/>
                  <a:moveTo>
                    <a:pt x="142" y="15"/>
                  </a:moveTo>
                  <a:cubicBezTo>
                    <a:pt x="12" y="15"/>
                    <a:pt x="12" y="15"/>
                    <a:pt x="12" y="15"/>
                  </a:cubicBezTo>
                  <a:cubicBezTo>
                    <a:pt x="7" y="15"/>
                    <a:pt x="2" y="11"/>
                    <a:pt x="0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1" y="0"/>
                    <a:pt x="152" y="0"/>
                    <a:pt x="153" y="2"/>
                  </a:cubicBezTo>
                  <a:cubicBezTo>
                    <a:pt x="154" y="3"/>
                    <a:pt x="154" y="5"/>
                    <a:pt x="153" y="6"/>
                  </a:cubicBezTo>
                  <a:cubicBezTo>
                    <a:pt x="152" y="11"/>
                    <a:pt x="147" y="15"/>
                    <a:pt x="142" y="1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2" name="Freeform 7"/>
            <p:cNvSpPr>
              <a:spLocks noEditPoints="1"/>
            </p:cNvSpPr>
            <p:nvPr/>
          </p:nvSpPr>
          <p:spPr bwMode="auto">
            <a:xfrm>
              <a:off x="5597525" y="2687638"/>
              <a:ext cx="385762" cy="244475"/>
            </a:xfrm>
            <a:custGeom>
              <a:avLst/>
              <a:gdLst>
                <a:gd name="T0" fmla="*/ 3 w 103"/>
                <a:gd name="T1" fmla="*/ 62 h 65"/>
                <a:gd name="T2" fmla="*/ 101 w 103"/>
                <a:gd name="T3" fmla="*/ 62 h 65"/>
                <a:gd name="T4" fmla="*/ 101 w 103"/>
                <a:gd name="T5" fmla="*/ 6 h 65"/>
                <a:gd name="T6" fmla="*/ 97 w 103"/>
                <a:gd name="T7" fmla="*/ 3 h 65"/>
                <a:gd name="T8" fmla="*/ 6 w 103"/>
                <a:gd name="T9" fmla="*/ 3 h 65"/>
                <a:gd name="T10" fmla="*/ 3 w 103"/>
                <a:gd name="T11" fmla="*/ 6 h 65"/>
                <a:gd name="T12" fmla="*/ 3 w 103"/>
                <a:gd name="T13" fmla="*/ 62 h 65"/>
                <a:gd name="T14" fmla="*/ 102 w 103"/>
                <a:gd name="T15" fmla="*/ 65 h 65"/>
                <a:gd name="T16" fmla="*/ 2 w 103"/>
                <a:gd name="T17" fmla="*/ 65 h 65"/>
                <a:gd name="T18" fmla="*/ 0 w 103"/>
                <a:gd name="T19" fmla="*/ 64 h 65"/>
                <a:gd name="T20" fmla="*/ 0 w 103"/>
                <a:gd name="T21" fmla="*/ 6 h 65"/>
                <a:gd name="T22" fmla="*/ 6 w 103"/>
                <a:gd name="T23" fmla="*/ 0 h 65"/>
                <a:gd name="T24" fmla="*/ 97 w 103"/>
                <a:gd name="T25" fmla="*/ 0 h 65"/>
                <a:gd name="T26" fmla="*/ 103 w 103"/>
                <a:gd name="T27" fmla="*/ 6 h 65"/>
                <a:gd name="T28" fmla="*/ 103 w 103"/>
                <a:gd name="T29" fmla="*/ 64 h 65"/>
                <a:gd name="T30" fmla="*/ 102 w 103"/>
                <a:gd name="T3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3" h="65">
                  <a:moveTo>
                    <a:pt x="3" y="62"/>
                  </a:moveTo>
                  <a:cubicBezTo>
                    <a:pt x="101" y="62"/>
                    <a:pt x="101" y="62"/>
                    <a:pt x="101" y="62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101" y="4"/>
                    <a:pt x="99" y="3"/>
                    <a:pt x="97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3" y="4"/>
                    <a:pt x="3" y="6"/>
                  </a:cubicBezTo>
                  <a:lnTo>
                    <a:pt x="3" y="62"/>
                  </a:lnTo>
                  <a:close/>
                  <a:moveTo>
                    <a:pt x="102" y="65"/>
                  </a:moveTo>
                  <a:cubicBezTo>
                    <a:pt x="2" y="65"/>
                    <a:pt x="2" y="65"/>
                    <a:pt x="2" y="65"/>
                  </a:cubicBezTo>
                  <a:cubicBezTo>
                    <a:pt x="1" y="65"/>
                    <a:pt x="0" y="64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1" y="0"/>
                    <a:pt x="103" y="3"/>
                    <a:pt x="103" y="6"/>
                  </a:cubicBezTo>
                  <a:cubicBezTo>
                    <a:pt x="103" y="64"/>
                    <a:pt x="103" y="64"/>
                    <a:pt x="103" y="64"/>
                  </a:cubicBezTo>
                  <a:cubicBezTo>
                    <a:pt x="103" y="64"/>
                    <a:pt x="103" y="65"/>
                    <a:pt x="102" y="6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90" name="Freeform 8"/>
            <p:cNvSpPr>
              <a:spLocks noEditPoints="1"/>
            </p:cNvSpPr>
            <p:nvPr/>
          </p:nvSpPr>
          <p:spPr bwMode="auto">
            <a:xfrm>
              <a:off x="5738813" y="2763838"/>
              <a:ext cx="101600" cy="96838"/>
            </a:xfrm>
            <a:custGeom>
              <a:avLst/>
              <a:gdLst>
                <a:gd name="T0" fmla="*/ 13 w 27"/>
                <a:gd name="T1" fmla="*/ 15 h 26"/>
                <a:gd name="T2" fmla="*/ 14 w 27"/>
                <a:gd name="T3" fmla="*/ 15 h 26"/>
                <a:gd name="T4" fmla="*/ 22 w 27"/>
                <a:gd name="T5" fmla="*/ 23 h 26"/>
                <a:gd name="T6" fmla="*/ 24 w 27"/>
                <a:gd name="T7" fmla="*/ 21 h 26"/>
                <a:gd name="T8" fmla="*/ 16 w 27"/>
                <a:gd name="T9" fmla="*/ 13 h 26"/>
                <a:gd name="T10" fmla="*/ 16 w 27"/>
                <a:gd name="T11" fmla="*/ 12 h 26"/>
                <a:gd name="T12" fmla="*/ 16 w 27"/>
                <a:gd name="T13" fmla="*/ 11 h 26"/>
                <a:gd name="T14" fmla="*/ 19 w 27"/>
                <a:gd name="T15" fmla="*/ 7 h 26"/>
                <a:gd name="T16" fmla="*/ 4 w 27"/>
                <a:gd name="T17" fmla="*/ 3 h 26"/>
                <a:gd name="T18" fmla="*/ 8 w 27"/>
                <a:gd name="T19" fmla="*/ 19 h 26"/>
                <a:gd name="T20" fmla="*/ 12 w 27"/>
                <a:gd name="T21" fmla="*/ 15 h 26"/>
                <a:gd name="T22" fmla="*/ 13 w 27"/>
                <a:gd name="T23" fmla="*/ 15 h 26"/>
                <a:gd name="T24" fmla="*/ 22 w 27"/>
                <a:gd name="T25" fmla="*/ 26 h 26"/>
                <a:gd name="T26" fmla="*/ 21 w 27"/>
                <a:gd name="T27" fmla="*/ 26 h 26"/>
                <a:gd name="T28" fmla="*/ 13 w 27"/>
                <a:gd name="T29" fmla="*/ 18 h 26"/>
                <a:gd name="T30" fmla="*/ 9 w 27"/>
                <a:gd name="T31" fmla="*/ 22 h 26"/>
                <a:gd name="T32" fmla="*/ 7 w 27"/>
                <a:gd name="T33" fmla="*/ 22 h 26"/>
                <a:gd name="T34" fmla="*/ 6 w 27"/>
                <a:gd name="T35" fmla="*/ 21 h 26"/>
                <a:gd name="T36" fmla="*/ 0 w 27"/>
                <a:gd name="T37" fmla="*/ 1 h 26"/>
                <a:gd name="T38" fmla="*/ 1 w 27"/>
                <a:gd name="T39" fmla="*/ 0 h 26"/>
                <a:gd name="T40" fmla="*/ 2 w 27"/>
                <a:gd name="T41" fmla="*/ 0 h 26"/>
                <a:gd name="T42" fmla="*/ 22 w 27"/>
                <a:gd name="T43" fmla="*/ 6 h 26"/>
                <a:gd name="T44" fmla="*/ 23 w 27"/>
                <a:gd name="T45" fmla="*/ 7 h 26"/>
                <a:gd name="T46" fmla="*/ 23 w 27"/>
                <a:gd name="T47" fmla="*/ 8 h 26"/>
                <a:gd name="T48" fmla="*/ 19 w 27"/>
                <a:gd name="T49" fmla="*/ 12 h 26"/>
                <a:gd name="T50" fmla="*/ 27 w 27"/>
                <a:gd name="T51" fmla="*/ 20 h 26"/>
                <a:gd name="T52" fmla="*/ 27 w 27"/>
                <a:gd name="T53" fmla="*/ 21 h 26"/>
                <a:gd name="T54" fmla="*/ 27 w 27"/>
                <a:gd name="T55" fmla="*/ 22 h 26"/>
                <a:gd name="T56" fmla="*/ 22 w 27"/>
                <a:gd name="T57" fmla="*/ 26 h 26"/>
                <a:gd name="T58" fmla="*/ 22 w 27"/>
                <a:gd name="T5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" h="26">
                  <a:moveTo>
                    <a:pt x="13" y="15"/>
                  </a:moveTo>
                  <a:cubicBezTo>
                    <a:pt x="13" y="15"/>
                    <a:pt x="13" y="15"/>
                    <a:pt x="14" y="15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3" y="15"/>
                  </a:cubicBezTo>
                  <a:moveTo>
                    <a:pt x="22" y="26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8" y="22"/>
                    <a:pt x="7" y="22"/>
                  </a:cubicBezTo>
                  <a:cubicBezTo>
                    <a:pt x="7" y="22"/>
                    <a:pt x="7" y="22"/>
                    <a:pt x="6" y="2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3" y="6"/>
                    <a:pt x="23" y="7"/>
                  </a:cubicBezTo>
                  <a:cubicBezTo>
                    <a:pt x="23" y="7"/>
                    <a:pt x="23" y="7"/>
                    <a:pt x="23" y="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0"/>
                    <a:pt x="27" y="20"/>
                    <a:pt x="27" y="21"/>
                  </a:cubicBezTo>
                  <a:cubicBezTo>
                    <a:pt x="27" y="21"/>
                    <a:pt x="27" y="21"/>
                    <a:pt x="27" y="22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</p:grpSp>
    </p:spTree>
    <p:extLst>
      <p:ext uri="{BB962C8B-B14F-4D97-AF65-F5344CB8AC3E}">
        <p14:creationId xmlns:p14="http://schemas.microsoft.com/office/powerpoint/2010/main" val="1222045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" name="Picture 4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686177"/>
            <a:ext cx="12192000" cy="4365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1" name="Rectangle 90"/>
          <p:cNvSpPr/>
          <p:nvPr userDrawn="1"/>
        </p:nvSpPr>
        <p:spPr>
          <a:xfrm>
            <a:off x="0" y="1686177"/>
            <a:ext cx="10224459" cy="4365897"/>
          </a:xfrm>
          <a:prstGeom prst="rect">
            <a:avLst/>
          </a:prstGeom>
          <a:solidFill>
            <a:srgbClr val="425968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3763" dirty="0"/>
          </a:p>
        </p:txBody>
      </p:sp>
      <p:cxnSp>
        <p:nvCxnSpPr>
          <p:cNvPr id="92" name="Straight Connector 91"/>
          <p:cNvCxnSpPr>
            <a:endCxn id="93" idx="2"/>
          </p:cNvCxnSpPr>
          <p:nvPr userDrawn="1"/>
        </p:nvCxnSpPr>
        <p:spPr>
          <a:xfrm>
            <a:off x="527382" y="4178328"/>
            <a:ext cx="768085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Oval 92"/>
          <p:cNvSpPr/>
          <p:nvPr userDrawn="1"/>
        </p:nvSpPr>
        <p:spPr>
          <a:xfrm>
            <a:off x="8208235" y="3602264"/>
            <a:ext cx="1152128" cy="1152128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3763" dirty="0"/>
          </a:p>
        </p:txBody>
      </p:sp>
      <p:grpSp>
        <p:nvGrpSpPr>
          <p:cNvPr id="95" name="Group 94"/>
          <p:cNvGrpSpPr/>
          <p:nvPr userDrawn="1"/>
        </p:nvGrpSpPr>
        <p:grpSpPr>
          <a:xfrm>
            <a:off x="8522473" y="4009548"/>
            <a:ext cx="523651" cy="337560"/>
            <a:chOff x="5503863" y="2646363"/>
            <a:chExt cx="576262" cy="371476"/>
          </a:xfrm>
          <a:solidFill>
            <a:schemeClr val="bg1"/>
          </a:solidFill>
        </p:grpSpPr>
        <p:sp>
          <p:nvSpPr>
            <p:cNvPr id="96" name="Freeform 5"/>
            <p:cNvSpPr>
              <a:spLocks noEditPoints="1"/>
            </p:cNvSpPr>
            <p:nvPr/>
          </p:nvSpPr>
          <p:spPr bwMode="auto">
            <a:xfrm>
              <a:off x="5562600" y="2646363"/>
              <a:ext cx="457200" cy="323850"/>
            </a:xfrm>
            <a:custGeom>
              <a:avLst/>
              <a:gdLst>
                <a:gd name="T0" fmla="*/ 3 w 122"/>
                <a:gd name="T1" fmla="*/ 84 h 86"/>
                <a:gd name="T2" fmla="*/ 119 w 122"/>
                <a:gd name="T3" fmla="*/ 84 h 86"/>
                <a:gd name="T4" fmla="*/ 119 w 122"/>
                <a:gd name="T5" fmla="*/ 10 h 86"/>
                <a:gd name="T6" fmla="*/ 113 w 122"/>
                <a:gd name="T7" fmla="*/ 3 h 86"/>
                <a:gd name="T8" fmla="*/ 9 w 122"/>
                <a:gd name="T9" fmla="*/ 3 h 86"/>
                <a:gd name="T10" fmla="*/ 3 w 122"/>
                <a:gd name="T11" fmla="*/ 10 h 86"/>
                <a:gd name="T12" fmla="*/ 3 w 122"/>
                <a:gd name="T13" fmla="*/ 84 h 86"/>
                <a:gd name="T14" fmla="*/ 120 w 122"/>
                <a:gd name="T15" fmla="*/ 86 h 86"/>
                <a:gd name="T16" fmla="*/ 1 w 122"/>
                <a:gd name="T17" fmla="*/ 86 h 86"/>
                <a:gd name="T18" fmla="*/ 0 w 122"/>
                <a:gd name="T19" fmla="*/ 85 h 86"/>
                <a:gd name="T20" fmla="*/ 0 w 122"/>
                <a:gd name="T21" fmla="*/ 10 h 86"/>
                <a:gd name="T22" fmla="*/ 9 w 122"/>
                <a:gd name="T23" fmla="*/ 0 h 86"/>
                <a:gd name="T24" fmla="*/ 113 w 122"/>
                <a:gd name="T25" fmla="*/ 0 h 86"/>
                <a:gd name="T26" fmla="*/ 122 w 122"/>
                <a:gd name="T27" fmla="*/ 10 h 86"/>
                <a:gd name="T28" fmla="*/ 122 w 122"/>
                <a:gd name="T29" fmla="*/ 85 h 86"/>
                <a:gd name="T30" fmla="*/ 120 w 122"/>
                <a:gd name="T3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" h="86">
                  <a:moveTo>
                    <a:pt x="3" y="84"/>
                  </a:moveTo>
                  <a:cubicBezTo>
                    <a:pt x="119" y="84"/>
                    <a:pt x="119" y="84"/>
                    <a:pt x="119" y="84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6"/>
                    <a:pt x="116" y="3"/>
                    <a:pt x="113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5" y="3"/>
                    <a:pt x="3" y="6"/>
                    <a:pt x="3" y="10"/>
                  </a:cubicBezTo>
                  <a:lnTo>
                    <a:pt x="3" y="84"/>
                  </a:lnTo>
                  <a:close/>
                  <a:moveTo>
                    <a:pt x="120" y="86"/>
                  </a:moveTo>
                  <a:cubicBezTo>
                    <a:pt x="1" y="86"/>
                    <a:pt x="1" y="86"/>
                    <a:pt x="1" y="86"/>
                  </a:cubicBezTo>
                  <a:cubicBezTo>
                    <a:pt x="1" y="86"/>
                    <a:pt x="0" y="86"/>
                    <a:pt x="0" y="85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9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8" y="0"/>
                    <a:pt x="122" y="5"/>
                    <a:pt x="122" y="10"/>
                  </a:cubicBezTo>
                  <a:cubicBezTo>
                    <a:pt x="122" y="85"/>
                    <a:pt x="122" y="85"/>
                    <a:pt x="122" y="85"/>
                  </a:cubicBezTo>
                  <a:cubicBezTo>
                    <a:pt x="122" y="86"/>
                    <a:pt x="121" y="86"/>
                    <a:pt x="120" y="8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97" name="Freeform 6"/>
            <p:cNvSpPr>
              <a:spLocks noEditPoints="1"/>
            </p:cNvSpPr>
            <p:nvPr/>
          </p:nvSpPr>
          <p:spPr bwMode="auto">
            <a:xfrm>
              <a:off x="5503863" y="2962276"/>
              <a:ext cx="576262" cy="55563"/>
            </a:xfrm>
            <a:custGeom>
              <a:avLst/>
              <a:gdLst>
                <a:gd name="T0" fmla="*/ 4 w 154"/>
                <a:gd name="T1" fmla="*/ 2 h 15"/>
                <a:gd name="T2" fmla="*/ 3 w 154"/>
                <a:gd name="T3" fmla="*/ 3 h 15"/>
                <a:gd name="T4" fmla="*/ 3 w 154"/>
                <a:gd name="T5" fmla="*/ 5 h 15"/>
                <a:gd name="T6" fmla="*/ 12 w 154"/>
                <a:gd name="T7" fmla="*/ 12 h 15"/>
                <a:gd name="T8" fmla="*/ 142 w 154"/>
                <a:gd name="T9" fmla="*/ 12 h 15"/>
                <a:gd name="T10" fmla="*/ 151 w 154"/>
                <a:gd name="T11" fmla="*/ 5 h 15"/>
                <a:gd name="T12" fmla="*/ 151 w 154"/>
                <a:gd name="T13" fmla="*/ 3 h 15"/>
                <a:gd name="T14" fmla="*/ 149 w 154"/>
                <a:gd name="T15" fmla="*/ 2 h 15"/>
                <a:gd name="T16" fmla="*/ 4 w 154"/>
                <a:gd name="T17" fmla="*/ 2 h 15"/>
                <a:gd name="T18" fmla="*/ 142 w 154"/>
                <a:gd name="T19" fmla="*/ 15 h 15"/>
                <a:gd name="T20" fmla="*/ 12 w 154"/>
                <a:gd name="T21" fmla="*/ 15 h 15"/>
                <a:gd name="T22" fmla="*/ 0 w 154"/>
                <a:gd name="T23" fmla="*/ 6 h 15"/>
                <a:gd name="T24" fmla="*/ 1 w 154"/>
                <a:gd name="T25" fmla="*/ 2 h 15"/>
                <a:gd name="T26" fmla="*/ 4 w 154"/>
                <a:gd name="T27" fmla="*/ 0 h 15"/>
                <a:gd name="T28" fmla="*/ 149 w 154"/>
                <a:gd name="T29" fmla="*/ 0 h 15"/>
                <a:gd name="T30" fmla="*/ 153 w 154"/>
                <a:gd name="T31" fmla="*/ 2 h 15"/>
                <a:gd name="T32" fmla="*/ 153 w 154"/>
                <a:gd name="T33" fmla="*/ 6 h 15"/>
                <a:gd name="T34" fmla="*/ 142 w 154"/>
                <a:gd name="T3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4" h="15">
                  <a:moveTo>
                    <a:pt x="4" y="2"/>
                  </a:moveTo>
                  <a:cubicBezTo>
                    <a:pt x="4" y="2"/>
                    <a:pt x="3" y="3"/>
                    <a:pt x="3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4" y="10"/>
                    <a:pt x="8" y="12"/>
                    <a:pt x="12" y="12"/>
                  </a:cubicBezTo>
                  <a:cubicBezTo>
                    <a:pt x="142" y="12"/>
                    <a:pt x="142" y="12"/>
                    <a:pt x="142" y="12"/>
                  </a:cubicBezTo>
                  <a:cubicBezTo>
                    <a:pt x="146" y="12"/>
                    <a:pt x="149" y="10"/>
                    <a:pt x="151" y="5"/>
                  </a:cubicBezTo>
                  <a:cubicBezTo>
                    <a:pt x="151" y="4"/>
                    <a:pt x="151" y="4"/>
                    <a:pt x="151" y="3"/>
                  </a:cubicBezTo>
                  <a:cubicBezTo>
                    <a:pt x="150" y="3"/>
                    <a:pt x="150" y="2"/>
                    <a:pt x="149" y="2"/>
                  </a:cubicBezTo>
                  <a:lnTo>
                    <a:pt x="4" y="2"/>
                  </a:lnTo>
                  <a:close/>
                  <a:moveTo>
                    <a:pt x="142" y="15"/>
                  </a:moveTo>
                  <a:cubicBezTo>
                    <a:pt x="12" y="15"/>
                    <a:pt x="12" y="15"/>
                    <a:pt x="12" y="15"/>
                  </a:cubicBezTo>
                  <a:cubicBezTo>
                    <a:pt x="7" y="15"/>
                    <a:pt x="2" y="11"/>
                    <a:pt x="0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1" y="0"/>
                    <a:pt x="152" y="0"/>
                    <a:pt x="153" y="2"/>
                  </a:cubicBezTo>
                  <a:cubicBezTo>
                    <a:pt x="154" y="3"/>
                    <a:pt x="154" y="5"/>
                    <a:pt x="153" y="6"/>
                  </a:cubicBezTo>
                  <a:cubicBezTo>
                    <a:pt x="152" y="11"/>
                    <a:pt x="147" y="15"/>
                    <a:pt x="142" y="1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98" name="Freeform 7"/>
            <p:cNvSpPr>
              <a:spLocks noEditPoints="1"/>
            </p:cNvSpPr>
            <p:nvPr/>
          </p:nvSpPr>
          <p:spPr bwMode="auto">
            <a:xfrm>
              <a:off x="5597525" y="2687638"/>
              <a:ext cx="385762" cy="244475"/>
            </a:xfrm>
            <a:custGeom>
              <a:avLst/>
              <a:gdLst>
                <a:gd name="T0" fmla="*/ 3 w 103"/>
                <a:gd name="T1" fmla="*/ 62 h 65"/>
                <a:gd name="T2" fmla="*/ 101 w 103"/>
                <a:gd name="T3" fmla="*/ 62 h 65"/>
                <a:gd name="T4" fmla="*/ 101 w 103"/>
                <a:gd name="T5" fmla="*/ 6 h 65"/>
                <a:gd name="T6" fmla="*/ 97 w 103"/>
                <a:gd name="T7" fmla="*/ 3 h 65"/>
                <a:gd name="T8" fmla="*/ 6 w 103"/>
                <a:gd name="T9" fmla="*/ 3 h 65"/>
                <a:gd name="T10" fmla="*/ 3 w 103"/>
                <a:gd name="T11" fmla="*/ 6 h 65"/>
                <a:gd name="T12" fmla="*/ 3 w 103"/>
                <a:gd name="T13" fmla="*/ 62 h 65"/>
                <a:gd name="T14" fmla="*/ 102 w 103"/>
                <a:gd name="T15" fmla="*/ 65 h 65"/>
                <a:gd name="T16" fmla="*/ 2 w 103"/>
                <a:gd name="T17" fmla="*/ 65 h 65"/>
                <a:gd name="T18" fmla="*/ 0 w 103"/>
                <a:gd name="T19" fmla="*/ 64 h 65"/>
                <a:gd name="T20" fmla="*/ 0 w 103"/>
                <a:gd name="T21" fmla="*/ 6 h 65"/>
                <a:gd name="T22" fmla="*/ 6 w 103"/>
                <a:gd name="T23" fmla="*/ 0 h 65"/>
                <a:gd name="T24" fmla="*/ 97 w 103"/>
                <a:gd name="T25" fmla="*/ 0 h 65"/>
                <a:gd name="T26" fmla="*/ 103 w 103"/>
                <a:gd name="T27" fmla="*/ 6 h 65"/>
                <a:gd name="T28" fmla="*/ 103 w 103"/>
                <a:gd name="T29" fmla="*/ 64 h 65"/>
                <a:gd name="T30" fmla="*/ 102 w 103"/>
                <a:gd name="T3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3" h="65">
                  <a:moveTo>
                    <a:pt x="3" y="62"/>
                  </a:moveTo>
                  <a:cubicBezTo>
                    <a:pt x="101" y="62"/>
                    <a:pt x="101" y="62"/>
                    <a:pt x="101" y="62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101" y="4"/>
                    <a:pt x="99" y="3"/>
                    <a:pt x="97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3" y="4"/>
                    <a:pt x="3" y="6"/>
                  </a:cubicBezTo>
                  <a:lnTo>
                    <a:pt x="3" y="62"/>
                  </a:lnTo>
                  <a:close/>
                  <a:moveTo>
                    <a:pt x="102" y="65"/>
                  </a:moveTo>
                  <a:cubicBezTo>
                    <a:pt x="2" y="65"/>
                    <a:pt x="2" y="65"/>
                    <a:pt x="2" y="65"/>
                  </a:cubicBezTo>
                  <a:cubicBezTo>
                    <a:pt x="1" y="65"/>
                    <a:pt x="0" y="64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1" y="0"/>
                    <a:pt x="103" y="3"/>
                    <a:pt x="103" y="6"/>
                  </a:cubicBezTo>
                  <a:cubicBezTo>
                    <a:pt x="103" y="64"/>
                    <a:pt x="103" y="64"/>
                    <a:pt x="103" y="64"/>
                  </a:cubicBezTo>
                  <a:cubicBezTo>
                    <a:pt x="103" y="64"/>
                    <a:pt x="103" y="65"/>
                    <a:pt x="102" y="6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99" name="Freeform 8"/>
            <p:cNvSpPr>
              <a:spLocks noEditPoints="1"/>
            </p:cNvSpPr>
            <p:nvPr/>
          </p:nvSpPr>
          <p:spPr bwMode="auto">
            <a:xfrm>
              <a:off x="5738813" y="2763838"/>
              <a:ext cx="101600" cy="96838"/>
            </a:xfrm>
            <a:custGeom>
              <a:avLst/>
              <a:gdLst>
                <a:gd name="T0" fmla="*/ 13 w 27"/>
                <a:gd name="T1" fmla="*/ 15 h 26"/>
                <a:gd name="T2" fmla="*/ 14 w 27"/>
                <a:gd name="T3" fmla="*/ 15 h 26"/>
                <a:gd name="T4" fmla="*/ 22 w 27"/>
                <a:gd name="T5" fmla="*/ 23 h 26"/>
                <a:gd name="T6" fmla="*/ 24 w 27"/>
                <a:gd name="T7" fmla="*/ 21 h 26"/>
                <a:gd name="T8" fmla="*/ 16 w 27"/>
                <a:gd name="T9" fmla="*/ 13 h 26"/>
                <a:gd name="T10" fmla="*/ 16 w 27"/>
                <a:gd name="T11" fmla="*/ 12 h 26"/>
                <a:gd name="T12" fmla="*/ 16 w 27"/>
                <a:gd name="T13" fmla="*/ 11 h 26"/>
                <a:gd name="T14" fmla="*/ 19 w 27"/>
                <a:gd name="T15" fmla="*/ 7 h 26"/>
                <a:gd name="T16" fmla="*/ 4 w 27"/>
                <a:gd name="T17" fmla="*/ 3 h 26"/>
                <a:gd name="T18" fmla="*/ 8 w 27"/>
                <a:gd name="T19" fmla="*/ 19 h 26"/>
                <a:gd name="T20" fmla="*/ 12 w 27"/>
                <a:gd name="T21" fmla="*/ 15 h 26"/>
                <a:gd name="T22" fmla="*/ 13 w 27"/>
                <a:gd name="T23" fmla="*/ 15 h 26"/>
                <a:gd name="T24" fmla="*/ 22 w 27"/>
                <a:gd name="T25" fmla="*/ 26 h 26"/>
                <a:gd name="T26" fmla="*/ 21 w 27"/>
                <a:gd name="T27" fmla="*/ 26 h 26"/>
                <a:gd name="T28" fmla="*/ 13 w 27"/>
                <a:gd name="T29" fmla="*/ 18 h 26"/>
                <a:gd name="T30" fmla="*/ 9 w 27"/>
                <a:gd name="T31" fmla="*/ 22 h 26"/>
                <a:gd name="T32" fmla="*/ 7 w 27"/>
                <a:gd name="T33" fmla="*/ 22 h 26"/>
                <a:gd name="T34" fmla="*/ 6 w 27"/>
                <a:gd name="T35" fmla="*/ 21 h 26"/>
                <a:gd name="T36" fmla="*/ 0 w 27"/>
                <a:gd name="T37" fmla="*/ 1 h 26"/>
                <a:gd name="T38" fmla="*/ 1 w 27"/>
                <a:gd name="T39" fmla="*/ 0 h 26"/>
                <a:gd name="T40" fmla="*/ 2 w 27"/>
                <a:gd name="T41" fmla="*/ 0 h 26"/>
                <a:gd name="T42" fmla="*/ 22 w 27"/>
                <a:gd name="T43" fmla="*/ 6 h 26"/>
                <a:gd name="T44" fmla="*/ 23 w 27"/>
                <a:gd name="T45" fmla="*/ 7 h 26"/>
                <a:gd name="T46" fmla="*/ 23 w 27"/>
                <a:gd name="T47" fmla="*/ 8 h 26"/>
                <a:gd name="T48" fmla="*/ 19 w 27"/>
                <a:gd name="T49" fmla="*/ 12 h 26"/>
                <a:gd name="T50" fmla="*/ 27 w 27"/>
                <a:gd name="T51" fmla="*/ 20 h 26"/>
                <a:gd name="T52" fmla="*/ 27 w 27"/>
                <a:gd name="T53" fmla="*/ 21 h 26"/>
                <a:gd name="T54" fmla="*/ 27 w 27"/>
                <a:gd name="T55" fmla="*/ 22 h 26"/>
                <a:gd name="T56" fmla="*/ 22 w 27"/>
                <a:gd name="T57" fmla="*/ 26 h 26"/>
                <a:gd name="T58" fmla="*/ 22 w 27"/>
                <a:gd name="T5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" h="26">
                  <a:moveTo>
                    <a:pt x="13" y="15"/>
                  </a:moveTo>
                  <a:cubicBezTo>
                    <a:pt x="13" y="15"/>
                    <a:pt x="13" y="15"/>
                    <a:pt x="14" y="15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3" y="15"/>
                  </a:cubicBezTo>
                  <a:moveTo>
                    <a:pt x="22" y="26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8" y="22"/>
                    <a:pt x="7" y="22"/>
                  </a:cubicBezTo>
                  <a:cubicBezTo>
                    <a:pt x="7" y="22"/>
                    <a:pt x="7" y="22"/>
                    <a:pt x="6" y="2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3" y="6"/>
                    <a:pt x="23" y="7"/>
                  </a:cubicBezTo>
                  <a:cubicBezTo>
                    <a:pt x="23" y="7"/>
                    <a:pt x="23" y="7"/>
                    <a:pt x="23" y="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0"/>
                    <a:pt x="27" y="20"/>
                    <a:pt x="27" y="21"/>
                  </a:cubicBezTo>
                  <a:cubicBezTo>
                    <a:pt x="27" y="21"/>
                    <a:pt x="27" y="21"/>
                    <a:pt x="27" y="22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7381" y="2523539"/>
            <a:ext cx="7200800" cy="1632181"/>
          </a:xfrm>
        </p:spPr>
        <p:txBody>
          <a:bodyPr lIns="0" anchor="b"/>
          <a:lstStyle>
            <a:lvl1pPr>
              <a:defRPr sz="3733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7381" y="4420899"/>
            <a:ext cx="7200800" cy="1174981"/>
          </a:xfrm>
          <a:solidFill>
            <a:srgbClr val="FFFFFF"/>
          </a:solidFill>
        </p:spPr>
        <p:txBody>
          <a:bodyPr lIns="90000" anchor="ctr">
            <a:normAutofit/>
          </a:bodyPr>
          <a:lstStyle>
            <a:lvl1pPr marL="0" indent="0" algn="l">
              <a:spcBef>
                <a:spcPts val="0"/>
              </a:spcBef>
              <a:buNone/>
              <a:defRPr sz="2667">
                <a:solidFill>
                  <a:schemeClr val="accent1"/>
                </a:solidFill>
                <a:latin typeface="+mn-lt"/>
              </a:defRPr>
            </a:lvl1pPr>
            <a:lvl2pPr marL="609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AU" dirty="0"/>
          </a:p>
        </p:txBody>
      </p:sp>
      <p:grpSp>
        <p:nvGrpSpPr>
          <p:cNvPr id="53" name="Group 52"/>
          <p:cNvGrpSpPr>
            <a:grpSpLocks noChangeAspect="1"/>
          </p:cNvGrpSpPr>
          <p:nvPr userDrawn="1"/>
        </p:nvGrpSpPr>
        <p:grpSpPr>
          <a:xfrm>
            <a:off x="527382" y="469063"/>
            <a:ext cx="1867805" cy="662572"/>
            <a:chOff x="-3190875" y="-179387"/>
            <a:chExt cx="15528925" cy="5508625"/>
          </a:xfrm>
          <a:solidFill>
            <a:schemeClr val="tx1"/>
          </a:solidFill>
        </p:grpSpPr>
        <p:sp>
          <p:nvSpPr>
            <p:cNvPr id="54" name="Freeform 7"/>
            <p:cNvSpPr>
              <a:spLocks/>
            </p:cNvSpPr>
            <p:nvPr userDrawn="1"/>
          </p:nvSpPr>
          <p:spPr bwMode="auto">
            <a:xfrm>
              <a:off x="2598738" y="250825"/>
              <a:ext cx="98425" cy="5078413"/>
            </a:xfrm>
            <a:custGeom>
              <a:avLst/>
              <a:gdLst>
                <a:gd name="T0" fmla="*/ 13 w 26"/>
                <a:gd name="T1" fmla="*/ 0 h 1354"/>
                <a:gd name="T2" fmla="*/ 0 w 26"/>
                <a:gd name="T3" fmla="*/ 13 h 1354"/>
                <a:gd name="T4" fmla="*/ 0 w 26"/>
                <a:gd name="T5" fmla="*/ 1342 h 1354"/>
                <a:gd name="T6" fmla="*/ 13 w 26"/>
                <a:gd name="T7" fmla="*/ 1354 h 1354"/>
                <a:gd name="T8" fmla="*/ 26 w 26"/>
                <a:gd name="T9" fmla="*/ 1342 h 1354"/>
                <a:gd name="T10" fmla="*/ 26 w 26"/>
                <a:gd name="T11" fmla="*/ 13 h 1354"/>
                <a:gd name="T12" fmla="*/ 13 w 26"/>
                <a:gd name="T13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354">
                  <a:moveTo>
                    <a:pt x="13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342"/>
                    <a:pt x="0" y="1342"/>
                    <a:pt x="0" y="1342"/>
                  </a:cubicBezTo>
                  <a:cubicBezTo>
                    <a:pt x="0" y="1349"/>
                    <a:pt x="5" y="1354"/>
                    <a:pt x="13" y="1354"/>
                  </a:cubicBezTo>
                  <a:cubicBezTo>
                    <a:pt x="20" y="1354"/>
                    <a:pt x="26" y="1349"/>
                    <a:pt x="26" y="134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5" name="Freeform 8"/>
            <p:cNvSpPr>
              <a:spLocks/>
            </p:cNvSpPr>
            <p:nvPr userDrawn="1"/>
          </p:nvSpPr>
          <p:spPr bwMode="auto">
            <a:xfrm>
              <a:off x="-171450" y="3097213"/>
              <a:ext cx="1946275" cy="1508125"/>
            </a:xfrm>
            <a:custGeom>
              <a:avLst/>
              <a:gdLst>
                <a:gd name="T0" fmla="*/ 864 w 1226"/>
                <a:gd name="T1" fmla="*/ 607 h 950"/>
                <a:gd name="T2" fmla="*/ 716 w 1226"/>
                <a:gd name="T3" fmla="*/ 0 h 950"/>
                <a:gd name="T4" fmla="*/ 512 w 1226"/>
                <a:gd name="T5" fmla="*/ 0 h 950"/>
                <a:gd name="T6" fmla="*/ 361 w 1226"/>
                <a:gd name="T7" fmla="*/ 603 h 950"/>
                <a:gd name="T8" fmla="*/ 224 w 1226"/>
                <a:gd name="T9" fmla="*/ 0 h 950"/>
                <a:gd name="T10" fmla="*/ 0 w 1226"/>
                <a:gd name="T11" fmla="*/ 0 h 950"/>
                <a:gd name="T12" fmla="*/ 248 w 1226"/>
                <a:gd name="T13" fmla="*/ 950 h 950"/>
                <a:gd name="T14" fmla="*/ 467 w 1226"/>
                <a:gd name="T15" fmla="*/ 950 h 950"/>
                <a:gd name="T16" fmla="*/ 612 w 1226"/>
                <a:gd name="T17" fmla="*/ 350 h 950"/>
                <a:gd name="T18" fmla="*/ 758 w 1226"/>
                <a:gd name="T19" fmla="*/ 950 h 950"/>
                <a:gd name="T20" fmla="*/ 973 w 1226"/>
                <a:gd name="T21" fmla="*/ 950 h 950"/>
                <a:gd name="T22" fmla="*/ 975 w 1226"/>
                <a:gd name="T23" fmla="*/ 941 h 950"/>
                <a:gd name="T24" fmla="*/ 1226 w 1226"/>
                <a:gd name="T25" fmla="*/ 0 h 950"/>
                <a:gd name="T26" fmla="*/ 1006 w 1226"/>
                <a:gd name="T27" fmla="*/ 0 h 950"/>
                <a:gd name="T28" fmla="*/ 864 w 1226"/>
                <a:gd name="T29" fmla="*/ 607 h 950"/>
                <a:gd name="T30" fmla="*/ 864 w 1226"/>
                <a:gd name="T31" fmla="*/ 607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6" h="950">
                  <a:moveTo>
                    <a:pt x="864" y="607"/>
                  </a:moveTo>
                  <a:lnTo>
                    <a:pt x="716" y="0"/>
                  </a:lnTo>
                  <a:lnTo>
                    <a:pt x="512" y="0"/>
                  </a:lnTo>
                  <a:lnTo>
                    <a:pt x="361" y="603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248" y="950"/>
                  </a:lnTo>
                  <a:lnTo>
                    <a:pt x="467" y="950"/>
                  </a:lnTo>
                  <a:lnTo>
                    <a:pt x="612" y="350"/>
                  </a:lnTo>
                  <a:lnTo>
                    <a:pt x="758" y="950"/>
                  </a:lnTo>
                  <a:lnTo>
                    <a:pt x="973" y="950"/>
                  </a:lnTo>
                  <a:lnTo>
                    <a:pt x="975" y="941"/>
                  </a:lnTo>
                  <a:lnTo>
                    <a:pt x="1226" y="0"/>
                  </a:lnTo>
                  <a:lnTo>
                    <a:pt x="1006" y="0"/>
                  </a:lnTo>
                  <a:lnTo>
                    <a:pt x="864" y="607"/>
                  </a:lnTo>
                  <a:lnTo>
                    <a:pt x="864" y="6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6" name="Freeform 9"/>
            <p:cNvSpPr>
              <a:spLocks/>
            </p:cNvSpPr>
            <p:nvPr userDrawn="1"/>
          </p:nvSpPr>
          <p:spPr bwMode="auto">
            <a:xfrm>
              <a:off x="-2987675" y="3097213"/>
              <a:ext cx="1503363" cy="1508125"/>
            </a:xfrm>
            <a:custGeom>
              <a:avLst/>
              <a:gdLst>
                <a:gd name="T0" fmla="*/ 219 w 947"/>
                <a:gd name="T1" fmla="*/ 0 h 950"/>
                <a:gd name="T2" fmla="*/ 0 w 947"/>
                <a:gd name="T3" fmla="*/ 0 h 950"/>
                <a:gd name="T4" fmla="*/ 0 w 947"/>
                <a:gd name="T5" fmla="*/ 950 h 950"/>
                <a:gd name="T6" fmla="*/ 212 w 947"/>
                <a:gd name="T7" fmla="*/ 950 h 950"/>
                <a:gd name="T8" fmla="*/ 212 w 947"/>
                <a:gd name="T9" fmla="*/ 345 h 950"/>
                <a:gd name="T10" fmla="*/ 727 w 947"/>
                <a:gd name="T11" fmla="*/ 950 h 950"/>
                <a:gd name="T12" fmla="*/ 947 w 947"/>
                <a:gd name="T13" fmla="*/ 950 h 950"/>
                <a:gd name="T14" fmla="*/ 947 w 947"/>
                <a:gd name="T15" fmla="*/ 0 h 950"/>
                <a:gd name="T16" fmla="*/ 734 w 947"/>
                <a:gd name="T17" fmla="*/ 0 h 950"/>
                <a:gd name="T18" fmla="*/ 734 w 947"/>
                <a:gd name="T19" fmla="*/ 607 h 950"/>
                <a:gd name="T20" fmla="*/ 219 w 947"/>
                <a:gd name="T21" fmla="*/ 0 h 950"/>
                <a:gd name="T22" fmla="*/ 219 w 947"/>
                <a:gd name="T23" fmla="*/ 0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7" h="950">
                  <a:moveTo>
                    <a:pt x="219" y="0"/>
                  </a:moveTo>
                  <a:lnTo>
                    <a:pt x="0" y="0"/>
                  </a:lnTo>
                  <a:lnTo>
                    <a:pt x="0" y="950"/>
                  </a:lnTo>
                  <a:lnTo>
                    <a:pt x="212" y="950"/>
                  </a:lnTo>
                  <a:lnTo>
                    <a:pt x="212" y="345"/>
                  </a:lnTo>
                  <a:lnTo>
                    <a:pt x="727" y="950"/>
                  </a:lnTo>
                  <a:lnTo>
                    <a:pt x="947" y="950"/>
                  </a:lnTo>
                  <a:lnTo>
                    <a:pt x="947" y="0"/>
                  </a:lnTo>
                  <a:lnTo>
                    <a:pt x="734" y="0"/>
                  </a:lnTo>
                  <a:lnTo>
                    <a:pt x="734" y="607"/>
                  </a:lnTo>
                  <a:lnTo>
                    <a:pt x="219" y="0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7" name="Freeform 10"/>
            <p:cNvSpPr>
              <a:spLocks/>
            </p:cNvSpPr>
            <p:nvPr userDrawn="1"/>
          </p:nvSpPr>
          <p:spPr bwMode="auto">
            <a:xfrm>
              <a:off x="-3025775" y="4822825"/>
              <a:ext cx="438150" cy="484188"/>
            </a:xfrm>
            <a:custGeom>
              <a:avLst/>
              <a:gdLst>
                <a:gd name="T0" fmla="*/ 64 w 117"/>
                <a:gd name="T1" fmla="*/ 76 h 129"/>
                <a:gd name="T2" fmla="*/ 96 w 117"/>
                <a:gd name="T3" fmla="*/ 76 h 129"/>
                <a:gd name="T4" fmla="*/ 96 w 117"/>
                <a:gd name="T5" fmla="*/ 100 h 129"/>
                <a:gd name="T6" fmla="*/ 66 w 117"/>
                <a:gd name="T7" fmla="*/ 109 h 129"/>
                <a:gd name="T8" fmla="*/ 23 w 117"/>
                <a:gd name="T9" fmla="*/ 65 h 129"/>
                <a:gd name="T10" fmla="*/ 23 w 117"/>
                <a:gd name="T11" fmla="*/ 64 h 129"/>
                <a:gd name="T12" fmla="*/ 64 w 117"/>
                <a:gd name="T13" fmla="*/ 20 h 129"/>
                <a:gd name="T14" fmla="*/ 98 w 117"/>
                <a:gd name="T15" fmla="*/ 34 h 129"/>
                <a:gd name="T16" fmla="*/ 112 w 117"/>
                <a:gd name="T17" fmla="*/ 17 h 129"/>
                <a:gd name="T18" fmla="*/ 65 w 117"/>
                <a:gd name="T19" fmla="*/ 0 h 129"/>
                <a:gd name="T20" fmla="*/ 0 w 117"/>
                <a:gd name="T21" fmla="*/ 65 h 129"/>
                <a:gd name="T22" fmla="*/ 0 w 117"/>
                <a:gd name="T23" fmla="*/ 65 h 129"/>
                <a:gd name="T24" fmla="*/ 65 w 117"/>
                <a:gd name="T25" fmla="*/ 129 h 129"/>
                <a:gd name="T26" fmla="*/ 117 w 117"/>
                <a:gd name="T27" fmla="*/ 110 h 129"/>
                <a:gd name="T28" fmla="*/ 117 w 117"/>
                <a:gd name="T29" fmla="*/ 57 h 129"/>
                <a:gd name="T30" fmla="*/ 64 w 117"/>
                <a:gd name="T31" fmla="*/ 57 h 129"/>
                <a:gd name="T32" fmla="*/ 64 w 117"/>
                <a:gd name="T33" fmla="*/ 7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29">
                  <a:moveTo>
                    <a:pt x="64" y="76"/>
                  </a:moveTo>
                  <a:cubicBezTo>
                    <a:pt x="96" y="76"/>
                    <a:pt x="96" y="76"/>
                    <a:pt x="96" y="76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88" y="105"/>
                    <a:pt x="77" y="109"/>
                    <a:pt x="66" y="109"/>
                  </a:cubicBezTo>
                  <a:cubicBezTo>
                    <a:pt x="40" y="109"/>
                    <a:pt x="23" y="90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1" y="20"/>
                    <a:pt x="64" y="20"/>
                  </a:cubicBezTo>
                  <a:cubicBezTo>
                    <a:pt x="79" y="20"/>
                    <a:pt x="89" y="26"/>
                    <a:pt x="98" y="34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99" y="6"/>
                    <a:pt x="86" y="0"/>
                    <a:pt x="65" y="0"/>
                  </a:cubicBez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1"/>
                    <a:pt x="26" y="129"/>
                    <a:pt x="65" y="129"/>
                  </a:cubicBezTo>
                  <a:cubicBezTo>
                    <a:pt x="87" y="129"/>
                    <a:pt x="104" y="120"/>
                    <a:pt x="117" y="110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76"/>
                    <a:pt x="64" y="76"/>
                    <a:pt x="6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8" name="Freeform 11"/>
            <p:cNvSpPr>
              <a:spLocks noEditPoints="1"/>
            </p:cNvSpPr>
            <p:nvPr userDrawn="1"/>
          </p:nvSpPr>
          <p:spPr bwMode="auto">
            <a:xfrm>
              <a:off x="-2538413" y="4822825"/>
              <a:ext cx="487363" cy="484188"/>
            </a:xfrm>
            <a:custGeom>
              <a:avLst/>
              <a:gdLst>
                <a:gd name="T0" fmla="*/ 65 w 130"/>
                <a:gd name="T1" fmla="*/ 0 h 129"/>
                <a:gd name="T2" fmla="*/ 0 w 130"/>
                <a:gd name="T3" fmla="*/ 65 h 129"/>
                <a:gd name="T4" fmla="*/ 0 w 130"/>
                <a:gd name="T5" fmla="*/ 65 h 129"/>
                <a:gd name="T6" fmla="*/ 65 w 130"/>
                <a:gd name="T7" fmla="*/ 129 h 129"/>
                <a:gd name="T8" fmla="*/ 130 w 130"/>
                <a:gd name="T9" fmla="*/ 65 h 129"/>
                <a:gd name="T10" fmla="*/ 130 w 130"/>
                <a:gd name="T11" fmla="*/ 64 h 129"/>
                <a:gd name="T12" fmla="*/ 65 w 130"/>
                <a:gd name="T13" fmla="*/ 0 h 129"/>
                <a:gd name="T14" fmla="*/ 107 w 130"/>
                <a:gd name="T15" fmla="*/ 65 h 129"/>
                <a:gd name="T16" fmla="*/ 65 w 130"/>
                <a:gd name="T17" fmla="*/ 109 h 129"/>
                <a:gd name="T18" fmla="*/ 23 w 130"/>
                <a:gd name="T19" fmla="*/ 65 h 129"/>
                <a:gd name="T20" fmla="*/ 23 w 130"/>
                <a:gd name="T21" fmla="*/ 64 h 129"/>
                <a:gd name="T22" fmla="*/ 65 w 130"/>
                <a:gd name="T23" fmla="*/ 20 h 129"/>
                <a:gd name="T24" fmla="*/ 107 w 130"/>
                <a:gd name="T25" fmla="*/ 65 h 129"/>
                <a:gd name="T26" fmla="*/ 107 w 130"/>
                <a:gd name="T27" fmla="*/ 6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29">
                  <a:moveTo>
                    <a:pt x="65" y="0"/>
                  </a:moveTo>
                  <a:cubicBezTo>
                    <a:pt x="27" y="0"/>
                    <a:pt x="0" y="30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0"/>
                    <a:pt x="27" y="129"/>
                    <a:pt x="65" y="129"/>
                  </a:cubicBezTo>
                  <a:cubicBezTo>
                    <a:pt x="103" y="129"/>
                    <a:pt x="130" y="100"/>
                    <a:pt x="130" y="65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29"/>
                    <a:pt x="103" y="0"/>
                    <a:pt x="65" y="0"/>
                  </a:cubicBezTo>
                  <a:close/>
                  <a:moveTo>
                    <a:pt x="107" y="65"/>
                  </a:moveTo>
                  <a:cubicBezTo>
                    <a:pt x="107" y="89"/>
                    <a:pt x="90" y="109"/>
                    <a:pt x="65" y="109"/>
                  </a:cubicBezTo>
                  <a:cubicBezTo>
                    <a:pt x="40" y="109"/>
                    <a:pt x="23" y="89"/>
                    <a:pt x="23" y="65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40"/>
                    <a:pt x="40" y="20"/>
                    <a:pt x="65" y="20"/>
                  </a:cubicBezTo>
                  <a:cubicBezTo>
                    <a:pt x="89" y="20"/>
                    <a:pt x="107" y="40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59" name="Freeform 12"/>
            <p:cNvSpPr>
              <a:spLocks/>
            </p:cNvSpPr>
            <p:nvPr userDrawn="1"/>
          </p:nvSpPr>
          <p:spPr bwMode="auto">
            <a:xfrm>
              <a:off x="-2058988" y="4830763"/>
              <a:ext cx="461963" cy="471488"/>
            </a:xfrm>
            <a:custGeom>
              <a:avLst/>
              <a:gdLst>
                <a:gd name="T0" fmla="*/ 147 w 291"/>
                <a:gd name="T1" fmla="*/ 227 h 297"/>
                <a:gd name="T2" fmla="*/ 57 w 291"/>
                <a:gd name="T3" fmla="*/ 0 h 297"/>
                <a:gd name="T4" fmla="*/ 0 w 291"/>
                <a:gd name="T5" fmla="*/ 0 h 297"/>
                <a:gd name="T6" fmla="*/ 123 w 291"/>
                <a:gd name="T7" fmla="*/ 297 h 297"/>
                <a:gd name="T8" fmla="*/ 168 w 291"/>
                <a:gd name="T9" fmla="*/ 297 h 297"/>
                <a:gd name="T10" fmla="*/ 291 w 291"/>
                <a:gd name="T11" fmla="*/ 0 h 297"/>
                <a:gd name="T12" fmla="*/ 234 w 291"/>
                <a:gd name="T13" fmla="*/ 0 h 297"/>
                <a:gd name="T14" fmla="*/ 147 w 291"/>
                <a:gd name="T15" fmla="*/ 227 h 297"/>
                <a:gd name="T16" fmla="*/ 147 w 291"/>
                <a:gd name="T17" fmla="*/ 22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297">
                  <a:moveTo>
                    <a:pt x="147" y="227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123" y="297"/>
                  </a:lnTo>
                  <a:lnTo>
                    <a:pt x="168" y="297"/>
                  </a:lnTo>
                  <a:lnTo>
                    <a:pt x="291" y="0"/>
                  </a:lnTo>
                  <a:lnTo>
                    <a:pt x="234" y="0"/>
                  </a:lnTo>
                  <a:lnTo>
                    <a:pt x="147" y="227"/>
                  </a:lnTo>
                  <a:lnTo>
                    <a:pt x="147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0" name="Freeform 13"/>
            <p:cNvSpPr>
              <a:spLocks/>
            </p:cNvSpPr>
            <p:nvPr userDrawn="1"/>
          </p:nvSpPr>
          <p:spPr bwMode="auto">
            <a:xfrm>
              <a:off x="-1541463" y="4830763"/>
              <a:ext cx="349250" cy="468313"/>
            </a:xfrm>
            <a:custGeom>
              <a:avLst/>
              <a:gdLst>
                <a:gd name="T0" fmla="*/ 50 w 220"/>
                <a:gd name="T1" fmla="*/ 170 h 295"/>
                <a:gd name="T2" fmla="*/ 199 w 220"/>
                <a:gd name="T3" fmla="*/ 170 h 295"/>
                <a:gd name="T4" fmla="*/ 199 w 220"/>
                <a:gd name="T5" fmla="*/ 123 h 295"/>
                <a:gd name="T6" fmla="*/ 50 w 220"/>
                <a:gd name="T7" fmla="*/ 123 h 295"/>
                <a:gd name="T8" fmla="*/ 50 w 220"/>
                <a:gd name="T9" fmla="*/ 47 h 295"/>
                <a:gd name="T10" fmla="*/ 218 w 220"/>
                <a:gd name="T11" fmla="*/ 47 h 295"/>
                <a:gd name="T12" fmla="*/ 218 w 220"/>
                <a:gd name="T13" fmla="*/ 0 h 295"/>
                <a:gd name="T14" fmla="*/ 0 w 220"/>
                <a:gd name="T15" fmla="*/ 0 h 295"/>
                <a:gd name="T16" fmla="*/ 0 w 220"/>
                <a:gd name="T17" fmla="*/ 295 h 295"/>
                <a:gd name="T18" fmla="*/ 220 w 220"/>
                <a:gd name="T19" fmla="*/ 295 h 295"/>
                <a:gd name="T20" fmla="*/ 220 w 220"/>
                <a:gd name="T21" fmla="*/ 248 h 295"/>
                <a:gd name="T22" fmla="*/ 50 w 220"/>
                <a:gd name="T23" fmla="*/ 248 h 295"/>
                <a:gd name="T24" fmla="*/ 50 w 220"/>
                <a:gd name="T25" fmla="*/ 170 h 295"/>
                <a:gd name="T26" fmla="*/ 50 w 220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" h="295">
                  <a:moveTo>
                    <a:pt x="50" y="170"/>
                  </a:moveTo>
                  <a:lnTo>
                    <a:pt x="199" y="170"/>
                  </a:lnTo>
                  <a:lnTo>
                    <a:pt x="199" y="123"/>
                  </a:lnTo>
                  <a:lnTo>
                    <a:pt x="50" y="123"/>
                  </a:lnTo>
                  <a:lnTo>
                    <a:pt x="50" y="47"/>
                  </a:lnTo>
                  <a:lnTo>
                    <a:pt x="218" y="47"/>
                  </a:lnTo>
                  <a:lnTo>
                    <a:pt x="218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20" y="295"/>
                  </a:lnTo>
                  <a:lnTo>
                    <a:pt x="220" y="248"/>
                  </a:lnTo>
                  <a:lnTo>
                    <a:pt x="50" y="248"/>
                  </a:lnTo>
                  <a:lnTo>
                    <a:pt x="50" y="170"/>
                  </a:lnTo>
                  <a:lnTo>
                    <a:pt x="5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1" name="Freeform 14"/>
            <p:cNvSpPr>
              <a:spLocks noEditPoints="1"/>
            </p:cNvSpPr>
            <p:nvPr userDrawn="1"/>
          </p:nvSpPr>
          <p:spPr bwMode="auto">
            <a:xfrm>
              <a:off x="-1112838" y="4830763"/>
              <a:ext cx="393700" cy="468313"/>
            </a:xfrm>
            <a:custGeom>
              <a:avLst/>
              <a:gdLst>
                <a:gd name="T0" fmla="*/ 101 w 105"/>
                <a:gd name="T1" fmla="*/ 40 h 125"/>
                <a:gd name="T2" fmla="*/ 101 w 105"/>
                <a:gd name="T3" fmla="*/ 40 h 125"/>
                <a:gd name="T4" fmla="*/ 91 w 105"/>
                <a:gd name="T5" fmla="*/ 13 h 125"/>
                <a:gd name="T6" fmla="*/ 55 w 105"/>
                <a:gd name="T7" fmla="*/ 0 h 125"/>
                <a:gd name="T8" fmla="*/ 0 w 105"/>
                <a:gd name="T9" fmla="*/ 0 h 125"/>
                <a:gd name="T10" fmla="*/ 0 w 105"/>
                <a:gd name="T11" fmla="*/ 125 h 125"/>
                <a:gd name="T12" fmla="*/ 22 w 105"/>
                <a:gd name="T13" fmla="*/ 125 h 125"/>
                <a:gd name="T14" fmla="*/ 22 w 105"/>
                <a:gd name="T15" fmla="*/ 81 h 125"/>
                <a:gd name="T16" fmla="*/ 49 w 105"/>
                <a:gd name="T17" fmla="*/ 81 h 125"/>
                <a:gd name="T18" fmla="*/ 80 w 105"/>
                <a:gd name="T19" fmla="*/ 125 h 125"/>
                <a:gd name="T20" fmla="*/ 105 w 105"/>
                <a:gd name="T21" fmla="*/ 125 h 125"/>
                <a:gd name="T22" fmla="*/ 72 w 105"/>
                <a:gd name="T23" fmla="*/ 78 h 125"/>
                <a:gd name="T24" fmla="*/ 101 w 105"/>
                <a:gd name="T25" fmla="*/ 40 h 125"/>
                <a:gd name="T26" fmla="*/ 22 w 105"/>
                <a:gd name="T27" fmla="*/ 62 h 125"/>
                <a:gd name="T28" fmla="*/ 22 w 105"/>
                <a:gd name="T29" fmla="*/ 20 h 125"/>
                <a:gd name="T30" fmla="*/ 53 w 105"/>
                <a:gd name="T31" fmla="*/ 20 h 125"/>
                <a:gd name="T32" fmla="*/ 79 w 105"/>
                <a:gd name="T33" fmla="*/ 41 h 125"/>
                <a:gd name="T34" fmla="*/ 79 w 105"/>
                <a:gd name="T35" fmla="*/ 41 h 125"/>
                <a:gd name="T36" fmla="*/ 54 w 105"/>
                <a:gd name="T37" fmla="*/ 62 h 125"/>
                <a:gd name="T38" fmla="*/ 22 w 105"/>
                <a:gd name="T39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25">
                  <a:moveTo>
                    <a:pt x="101" y="40"/>
                  </a:moveTo>
                  <a:cubicBezTo>
                    <a:pt x="101" y="40"/>
                    <a:pt x="101" y="40"/>
                    <a:pt x="101" y="40"/>
                  </a:cubicBezTo>
                  <a:cubicBezTo>
                    <a:pt x="101" y="29"/>
                    <a:pt x="98" y="20"/>
                    <a:pt x="91" y="13"/>
                  </a:cubicBezTo>
                  <a:cubicBezTo>
                    <a:pt x="83" y="5"/>
                    <a:pt x="71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9" y="73"/>
                    <a:pt x="101" y="60"/>
                    <a:pt x="101" y="40"/>
                  </a:cubicBezTo>
                  <a:close/>
                  <a:moveTo>
                    <a:pt x="22" y="6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70" y="20"/>
                    <a:pt x="79" y="2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54"/>
                    <a:pt x="69" y="62"/>
                    <a:pt x="54" y="62"/>
                  </a:cubicBezTo>
                  <a:cubicBezTo>
                    <a:pt x="22" y="62"/>
                    <a:pt x="22" y="62"/>
                    <a:pt x="2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2" name="Freeform 15"/>
            <p:cNvSpPr>
              <a:spLocks/>
            </p:cNvSpPr>
            <p:nvPr userDrawn="1"/>
          </p:nvSpPr>
          <p:spPr bwMode="auto">
            <a:xfrm>
              <a:off x="-658813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49 w 255"/>
                <a:gd name="T9" fmla="*/ 295 h 295"/>
                <a:gd name="T10" fmla="*/ 49 w 255"/>
                <a:gd name="T11" fmla="*/ 85 h 295"/>
                <a:gd name="T12" fmla="*/ 212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49" y="295"/>
                  </a:lnTo>
                  <a:lnTo>
                    <a:pt x="49" y="85"/>
                  </a:lnTo>
                  <a:lnTo>
                    <a:pt x="212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3" name="Freeform 16"/>
            <p:cNvSpPr>
              <a:spLocks/>
            </p:cNvSpPr>
            <p:nvPr userDrawn="1"/>
          </p:nvSpPr>
          <p:spPr bwMode="auto">
            <a:xfrm>
              <a:off x="-171450" y="4830763"/>
              <a:ext cx="457200" cy="468313"/>
            </a:xfrm>
            <a:custGeom>
              <a:avLst/>
              <a:gdLst>
                <a:gd name="T0" fmla="*/ 144 w 288"/>
                <a:gd name="T1" fmla="*/ 139 h 295"/>
                <a:gd name="T2" fmla="*/ 54 w 288"/>
                <a:gd name="T3" fmla="*/ 0 h 295"/>
                <a:gd name="T4" fmla="*/ 0 w 288"/>
                <a:gd name="T5" fmla="*/ 0 h 295"/>
                <a:gd name="T6" fmla="*/ 0 w 288"/>
                <a:gd name="T7" fmla="*/ 295 h 295"/>
                <a:gd name="T8" fmla="*/ 52 w 288"/>
                <a:gd name="T9" fmla="*/ 295 h 295"/>
                <a:gd name="T10" fmla="*/ 52 w 288"/>
                <a:gd name="T11" fmla="*/ 85 h 295"/>
                <a:gd name="T12" fmla="*/ 141 w 288"/>
                <a:gd name="T13" fmla="*/ 222 h 295"/>
                <a:gd name="T14" fmla="*/ 144 w 288"/>
                <a:gd name="T15" fmla="*/ 222 h 295"/>
                <a:gd name="T16" fmla="*/ 236 w 288"/>
                <a:gd name="T17" fmla="*/ 85 h 295"/>
                <a:gd name="T18" fmla="*/ 236 w 288"/>
                <a:gd name="T19" fmla="*/ 295 h 295"/>
                <a:gd name="T20" fmla="*/ 288 w 288"/>
                <a:gd name="T21" fmla="*/ 295 h 295"/>
                <a:gd name="T22" fmla="*/ 288 w 288"/>
                <a:gd name="T23" fmla="*/ 0 h 295"/>
                <a:gd name="T24" fmla="*/ 234 w 288"/>
                <a:gd name="T25" fmla="*/ 0 h 295"/>
                <a:gd name="T26" fmla="*/ 144 w 288"/>
                <a:gd name="T27" fmla="*/ 139 h 295"/>
                <a:gd name="T28" fmla="*/ 144 w 288"/>
                <a:gd name="T29" fmla="*/ 13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295">
                  <a:moveTo>
                    <a:pt x="144" y="139"/>
                  </a:moveTo>
                  <a:lnTo>
                    <a:pt x="5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2" y="295"/>
                  </a:lnTo>
                  <a:lnTo>
                    <a:pt x="52" y="85"/>
                  </a:lnTo>
                  <a:lnTo>
                    <a:pt x="141" y="222"/>
                  </a:lnTo>
                  <a:lnTo>
                    <a:pt x="144" y="222"/>
                  </a:lnTo>
                  <a:lnTo>
                    <a:pt x="236" y="85"/>
                  </a:lnTo>
                  <a:lnTo>
                    <a:pt x="236" y="295"/>
                  </a:lnTo>
                  <a:lnTo>
                    <a:pt x="288" y="295"/>
                  </a:lnTo>
                  <a:lnTo>
                    <a:pt x="288" y="0"/>
                  </a:lnTo>
                  <a:lnTo>
                    <a:pt x="234" y="0"/>
                  </a:lnTo>
                  <a:lnTo>
                    <a:pt x="144" y="139"/>
                  </a:lnTo>
                  <a:lnTo>
                    <a:pt x="1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4" name="Freeform 17"/>
            <p:cNvSpPr>
              <a:spLocks/>
            </p:cNvSpPr>
            <p:nvPr userDrawn="1"/>
          </p:nvSpPr>
          <p:spPr bwMode="auto">
            <a:xfrm>
              <a:off x="365125" y="4830763"/>
              <a:ext cx="347663" cy="468313"/>
            </a:xfrm>
            <a:custGeom>
              <a:avLst/>
              <a:gdLst>
                <a:gd name="T0" fmla="*/ 52 w 219"/>
                <a:gd name="T1" fmla="*/ 170 h 295"/>
                <a:gd name="T2" fmla="*/ 198 w 219"/>
                <a:gd name="T3" fmla="*/ 170 h 295"/>
                <a:gd name="T4" fmla="*/ 198 w 219"/>
                <a:gd name="T5" fmla="*/ 123 h 295"/>
                <a:gd name="T6" fmla="*/ 52 w 219"/>
                <a:gd name="T7" fmla="*/ 123 h 295"/>
                <a:gd name="T8" fmla="*/ 52 w 219"/>
                <a:gd name="T9" fmla="*/ 47 h 295"/>
                <a:gd name="T10" fmla="*/ 217 w 219"/>
                <a:gd name="T11" fmla="*/ 47 h 295"/>
                <a:gd name="T12" fmla="*/ 217 w 219"/>
                <a:gd name="T13" fmla="*/ 0 h 295"/>
                <a:gd name="T14" fmla="*/ 0 w 219"/>
                <a:gd name="T15" fmla="*/ 0 h 295"/>
                <a:gd name="T16" fmla="*/ 0 w 219"/>
                <a:gd name="T17" fmla="*/ 295 h 295"/>
                <a:gd name="T18" fmla="*/ 219 w 219"/>
                <a:gd name="T19" fmla="*/ 295 h 295"/>
                <a:gd name="T20" fmla="*/ 219 w 219"/>
                <a:gd name="T21" fmla="*/ 248 h 295"/>
                <a:gd name="T22" fmla="*/ 52 w 219"/>
                <a:gd name="T23" fmla="*/ 248 h 295"/>
                <a:gd name="T24" fmla="*/ 52 w 219"/>
                <a:gd name="T25" fmla="*/ 170 h 295"/>
                <a:gd name="T26" fmla="*/ 52 w 219"/>
                <a:gd name="T27" fmla="*/ 17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95">
                  <a:moveTo>
                    <a:pt x="52" y="170"/>
                  </a:moveTo>
                  <a:lnTo>
                    <a:pt x="198" y="170"/>
                  </a:lnTo>
                  <a:lnTo>
                    <a:pt x="198" y="123"/>
                  </a:lnTo>
                  <a:lnTo>
                    <a:pt x="52" y="123"/>
                  </a:lnTo>
                  <a:lnTo>
                    <a:pt x="52" y="47"/>
                  </a:lnTo>
                  <a:lnTo>
                    <a:pt x="217" y="47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219" y="295"/>
                  </a:lnTo>
                  <a:lnTo>
                    <a:pt x="219" y="248"/>
                  </a:lnTo>
                  <a:lnTo>
                    <a:pt x="52" y="248"/>
                  </a:lnTo>
                  <a:lnTo>
                    <a:pt x="52" y="170"/>
                  </a:lnTo>
                  <a:lnTo>
                    <a:pt x="5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5" name="Freeform 18"/>
            <p:cNvSpPr>
              <a:spLocks/>
            </p:cNvSpPr>
            <p:nvPr userDrawn="1"/>
          </p:nvSpPr>
          <p:spPr bwMode="auto">
            <a:xfrm>
              <a:off x="795338" y="4830763"/>
              <a:ext cx="404813" cy="468313"/>
            </a:xfrm>
            <a:custGeom>
              <a:avLst/>
              <a:gdLst>
                <a:gd name="T0" fmla="*/ 203 w 255"/>
                <a:gd name="T1" fmla="*/ 203 h 295"/>
                <a:gd name="T2" fmla="*/ 47 w 255"/>
                <a:gd name="T3" fmla="*/ 0 h 295"/>
                <a:gd name="T4" fmla="*/ 0 w 255"/>
                <a:gd name="T5" fmla="*/ 0 h 295"/>
                <a:gd name="T6" fmla="*/ 0 w 255"/>
                <a:gd name="T7" fmla="*/ 295 h 295"/>
                <a:gd name="T8" fmla="*/ 50 w 255"/>
                <a:gd name="T9" fmla="*/ 295 h 295"/>
                <a:gd name="T10" fmla="*/ 50 w 255"/>
                <a:gd name="T11" fmla="*/ 85 h 295"/>
                <a:gd name="T12" fmla="*/ 213 w 255"/>
                <a:gd name="T13" fmla="*/ 295 h 295"/>
                <a:gd name="T14" fmla="*/ 255 w 255"/>
                <a:gd name="T15" fmla="*/ 295 h 295"/>
                <a:gd name="T16" fmla="*/ 255 w 255"/>
                <a:gd name="T17" fmla="*/ 0 h 295"/>
                <a:gd name="T18" fmla="*/ 203 w 255"/>
                <a:gd name="T19" fmla="*/ 0 h 295"/>
                <a:gd name="T20" fmla="*/ 203 w 255"/>
                <a:gd name="T21" fmla="*/ 203 h 295"/>
                <a:gd name="T22" fmla="*/ 203 w 255"/>
                <a:gd name="T23" fmla="*/ 20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295">
                  <a:moveTo>
                    <a:pt x="203" y="203"/>
                  </a:moveTo>
                  <a:lnTo>
                    <a:pt x="47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50" y="295"/>
                  </a:lnTo>
                  <a:lnTo>
                    <a:pt x="50" y="85"/>
                  </a:lnTo>
                  <a:lnTo>
                    <a:pt x="213" y="295"/>
                  </a:lnTo>
                  <a:lnTo>
                    <a:pt x="255" y="295"/>
                  </a:lnTo>
                  <a:lnTo>
                    <a:pt x="255" y="0"/>
                  </a:lnTo>
                  <a:lnTo>
                    <a:pt x="203" y="0"/>
                  </a:lnTo>
                  <a:lnTo>
                    <a:pt x="203" y="203"/>
                  </a:lnTo>
                  <a:lnTo>
                    <a:pt x="20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6" name="Freeform 19"/>
            <p:cNvSpPr>
              <a:spLocks/>
            </p:cNvSpPr>
            <p:nvPr userDrawn="1"/>
          </p:nvSpPr>
          <p:spPr bwMode="auto">
            <a:xfrm>
              <a:off x="1263650" y="4830763"/>
              <a:ext cx="379413" cy="468313"/>
            </a:xfrm>
            <a:custGeom>
              <a:avLst/>
              <a:gdLst>
                <a:gd name="T0" fmla="*/ 0 w 239"/>
                <a:gd name="T1" fmla="*/ 49 h 295"/>
                <a:gd name="T2" fmla="*/ 95 w 239"/>
                <a:gd name="T3" fmla="*/ 49 h 295"/>
                <a:gd name="T4" fmla="*/ 95 w 239"/>
                <a:gd name="T5" fmla="*/ 295 h 295"/>
                <a:gd name="T6" fmla="*/ 147 w 239"/>
                <a:gd name="T7" fmla="*/ 295 h 295"/>
                <a:gd name="T8" fmla="*/ 147 w 239"/>
                <a:gd name="T9" fmla="*/ 49 h 295"/>
                <a:gd name="T10" fmla="*/ 239 w 239"/>
                <a:gd name="T11" fmla="*/ 49 h 295"/>
                <a:gd name="T12" fmla="*/ 239 w 239"/>
                <a:gd name="T13" fmla="*/ 0 h 295"/>
                <a:gd name="T14" fmla="*/ 0 w 239"/>
                <a:gd name="T15" fmla="*/ 0 h 295"/>
                <a:gd name="T16" fmla="*/ 0 w 239"/>
                <a:gd name="T17" fmla="*/ 49 h 295"/>
                <a:gd name="T18" fmla="*/ 0 w 239"/>
                <a:gd name="T19" fmla="*/ 4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295">
                  <a:moveTo>
                    <a:pt x="0" y="49"/>
                  </a:moveTo>
                  <a:lnTo>
                    <a:pt x="95" y="49"/>
                  </a:lnTo>
                  <a:lnTo>
                    <a:pt x="95" y="295"/>
                  </a:lnTo>
                  <a:lnTo>
                    <a:pt x="147" y="295"/>
                  </a:lnTo>
                  <a:lnTo>
                    <a:pt x="147" y="49"/>
                  </a:lnTo>
                  <a:lnTo>
                    <a:pt x="239" y="49"/>
                  </a:lnTo>
                  <a:lnTo>
                    <a:pt x="239" y="0"/>
                  </a:lnTo>
                  <a:lnTo>
                    <a:pt x="0" y="0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7" name="Freeform 20"/>
            <p:cNvSpPr>
              <a:spLocks/>
            </p:cNvSpPr>
            <p:nvPr userDrawn="1"/>
          </p:nvSpPr>
          <p:spPr bwMode="auto">
            <a:xfrm>
              <a:off x="-1390650" y="3067050"/>
              <a:ext cx="1211263" cy="1571625"/>
            </a:xfrm>
            <a:custGeom>
              <a:avLst/>
              <a:gdLst>
                <a:gd name="T0" fmla="*/ 193 w 323"/>
                <a:gd name="T1" fmla="*/ 169 h 419"/>
                <a:gd name="T2" fmla="*/ 105 w 323"/>
                <a:gd name="T3" fmla="*/ 116 h 419"/>
                <a:gd name="T4" fmla="*/ 105 w 323"/>
                <a:gd name="T5" fmla="*/ 114 h 419"/>
                <a:gd name="T6" fmla="*/ 158 w 323"/>
                <a:gd name="T7" fmla="*/ 79 h 419"/>
                <a:gd name="T8" fmla="*/ 264 w 323"/>
                <a:gd name="T9" fmla="*/ 119 h 419"/>
                <a:gd name="T10" fmla="*/ 311 w 323"/>
                <a:gd name="T11" fmla="*/ 52 h 419"/>
                <a:gd name="T12" fmla="*/ 159 w 323"/>
                <a:gd name="T13" fmla="*/ 0 h 419"/>
                <a:gd name="T14" fmla="*/ 16 w 323"/>
                <a:gd name="T15" fmla="*/ 123 h 419"/>
                <a:gd name="T16" fmla="*/ 16 w 323"/>
                <a:gd name="T17" fmla="*/ 124 h 419"/>
                <a:gd name="T18" fmla="*/ 151 w 323"/>
                <a:gd name="T19" fmla="*/ 249 h 419"/>
                <a:gd name="T20" fmla="*/ 234 w 323"/>
                <a:gd name="T21" fmla="*/ 300 h 419"/>
                <a:gd name="T22" fmla="*/ 234 w 323"/>
                <a:gd name="T23" fmla="*/ 301 h 419"/>
                <a:gd name="T24" fmla="*/ 175 w 323"/>
                <a:gd name="T25" fmla="*/ 340 h 419"/>
                <a:gd name="T26" fmla="*/ 53 w 323"/>
                <a:gd name="T27" fmla="*/ 290 h 419"/>
                <a:gd name="T28" fmla="*/ 0 w 323"/>
                <a:gd name="T29" fmla="*/ 354 h 419"/>
                <a:gd name="T30" fmla="*/ 173 w 323"/>
                <a:gd name="T31" fmla="*/ 419 h 419"/>
                <a:gd name="T32" fmla="*/ 323 w 323"/>
                <a:gd name="T33" fmla="*/ 293 h 419"/>
                <a:gd name="T34" fmla="*/ 323 w 323"/>
                <a:gd name="T35" fmla="*/ 292 h 419"/>
                <a:gd name="T36" fmla="*/ 193 w 323"/>
                <a:gd name="T37" fmla="*/ 16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19">
                  <a:moveTo>
                    <a:pt x="193" y="169"/>
                  </a:moveTo>
                  <a:cubicBezTo>
                    <a:pt x="123" y="151"/>
                    <a:pt x="105" y="142"/>
                    <a:pt x="105" y="116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95"/>
                    <a:pt x="124" y="79"/>
                    <a:pt x="158" y="79"/>
                  </a:cubicBezTo>
                  <a:cubicBezTo>
                    <a:pt x="192" y="79"/>
                    <a:pt x="228" y="94"/>
                    <a:pt x="264" y="119"/>
                  </a:cubicBezTo>
                  <a:cubicBezTo>
                    <a:pt x="311" y="52"/>
                    <a:pt x="311" y="52"/>
                    <a:pt x="311" y="52"/>
                  </a:cubicBezTo>
                  <a:cubicBezTo>
                    <a:pt x="269" y="18"/>
                    <a:pt x="219" y="0"/>
                    <a:pt x="159" y="0"/>
                  </a:cubicBezTo>
                  <a:cubicBezTo>
                    <a:pt x="76" y="0"/>
                    <a:pt x="16" y="49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205"/>
                    <a:pt x="69" y="227"/>
                    <a:pt x="151" y="249"/>
                  </a:cubicBezTo>
                  <a:cubicBezTo>
                    <a:pt x="220" y="266"/>
                    <a:pt x="234" y="278"/>
                    <a:pt x="234" y="300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325"/>
                    <a:pt x="212" y="340"/>
                    <a:pt x="175" y="340"/>
                  </a:cubicBezTo>
                  <a:cubicBezTo>
                    <a:pt x="128" y="340"/>
                    <a:pt x="90" y="321"/>
                    <a:pt x="53" y="290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49" y="398"/>
                    <a:pt x="111" y="419"/>
                    <a:pt x="173" y="419"/>
                  </a:cubicBezTo>
                  <a:cubicBezTo>
                    <a:pt x="261" y="419"/>
                    <a:pt x="323" y="374"/>
                    <a:pt x="323" y="293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21"/>
                    <a:pt x="276" y="191"/>
                    <a:pt x="193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8" name="Freeform 21"/>
            <p:cNvSpPr>
              <a:spLocks/>
            </p:cNvSpPr>
            <p:nvPr userDrawn="1"/>
          </p:nvSpPr>
          <p:spPr bwMode="auto">
            <a:xfrm>
              <a:off x="-2276475" y="239713"/>
              <a:ext cx="965200" cy="2339975"/>
            </a:xfrm>
            <a:custGeom>
              <a:avLst/>
              <a:gdLst>
                <a:gd name="T0" fmla="*/ 257 w 257"/>
                <a:gd name="T1" fmla="*/ 624 h 624"/>
                <a:gd name="T2" fmla="*/ 177 w 257"/>
                <a:gd name="T3" fmla="*/ 510 h 624"/>
                <a:gd name="T4" fmla="*/ 152 w 257"/>
                <a:gd name="T5" fmla="*/ 324 h 624"/>
                <a:gd name="T6" fmla="*/ 173 w 257"/>
                <a:gd name="T7" fmla="*/ 119 h 624"/>
                <a:gd name="T8" fmla="*/ 173 w 257"/>
                <a:gd name="T9" fmla="*/ 118 h 624"/>
                <a:gd name="T10" fmla="*/ 195 w 257"/>
                <a:gd name="T11" fmla="*/ 88 h 624"/>
                <a:gd name="T12" fmla="*/ 44 w 257"/>
                <a:gd name="T13" fmla="*/ 7 h 624"/>
                <a:gd name="T14" fmla="*/ 33 w 257"/>
                <a:gd name="T15" fmla="*/ 2 h 624"/>
                <a:gd name="T16" fmla="*/ 33 w 257"/>
                <a:gd name="T17" fmla="*/ 2 h 624"/>
                <a:gd name="T18" fmla="*/ 33 w 257"/>
                <a:gd name="T19" fmla="*/ 2 h 624"/>
                <a:gd name="T20" fmla="*/ 25 w 257"/>
                <a:gd name="T21" fmla="*/ 0 h 624"/>
                <a:gd name="T22" fmla="*/ 9 w 257"/>
                <a:gd name="T23" fmla="*/ 15 h 624"/>
                <a:gd name="T24" fmla="*/ 5 w 257"/>
                <a:gd name="T25" fmla="*/ 55 h 624"/>
                <a:gd name="T26" fmla="*/ 0 w 257"/>
                <a:gd name="T27" fmla="*/ 157 h 624"/>
                <a:gd name="T28" fmla="*/ 73 w 257"/>
                <a:gd name="T29" fmla="*/ 496 h 624"/>
                <a:gd name="T30" fmla="*/ 257 w 257"/>
                <a:gd name="T3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624">
                  <a:moveTo>
                    <a:pt x="257" y="624"/>
                  </a:moveTo>
                  <a:cubicBezTo>
                    <a:pt x="229" y="602"/>
                    <a:pt x="195" y="566"/>
                    <a:pt x="177" y="510"/>
                  </a:cubicBezTo>
                  <a:cubicBezTo>
                    <a:pt x="160" y="457"/>
                    <a:pt x="152" y="394"/>
                    <a:pt x="152" y="324"/>
                  </a:cubicBezTo>
                  <a:cubicBezTo>
                    <a:pt x="152" y="226"/>
                    <a:pt x="168" y="142"/>
                    <a:pt x="173" y="119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176" y="104"/>
                    <a:pt x="184" y="93"/>
                    <a:pt x="195" y="88"/>
                  </a:cubicBezTo>
                  <a:cubicBezTo>
                    <a:pt x="121" y="40"/>
                    <a:pt x="57" y="12"/>
                    <a:pt x="44" y="7"/>
                  </a:cubicBezTo>
                  <a:cubicBezTo>
                    <a:pt x="37" y="4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0" y="1"/>
                    <a:pt x="27" y="0"/>
                    <a:pt x="25" y="0"/>
                  </a:cubicBezTo>
                  <a:cubicBezTo>
                    <a:pt x="16" y="0"/>
                    <a:pt x="11" y="6"/>
                    <a:pt x="9" y="15"/>
                  </a:cubicBezTo>
                  <a:cubicBezTo>
                    <a:pt x="9" y="15"/>
                    <a:pt x="7" y="30"/>
                    <a:pt x="5" y="55"/>
                  </a:cubicBezTo>
                  <a:cubicBezTo>
                    <a:pt x="3" y="78"/>
                    <a:pt x="0" y="114"/>
                    <a:pt x="0" y="157"/>
                  </a:cubicBezTo>
                  <a:cubicBezTo>
                    <a:pt x="0" y="253"/>
                    <a:pt x="13" y="391"/>
                    <a:pt x="73" y="496"/>
                  </a:cubicBezTo>
                  <a:cubicBezTo>
                    <a:pt x="119" y="576"/>
                    <a:pt x="185" y="621"/>
                    <a:pt x="257" y="6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69" name="Freeform 22"/>
            <p:cNvSpPr>
              <a:spLocks/>
            </p:cNvSpPr>
            <p:nvPr userDrawn="1"/>
          </p:nvSpPr>
          <p:spPr bwMode="auto">
            <a:xfrm>
              <a:off x="-704850" y="663575"/>
              <a:ext cx="998538" cy="1968500"/>
            </a:xfrm>
            <a:custGeom>
              <a:avLst/>
              <a:gdLst>
                <a:gd name="T0" fmla="*/ 50 w 266"/>
                <a:gd name="T1" fmla="*/ 520 h 525"/>
                <a:gd name="T2" fmla="*/ 78 w 266"/>
                <a:gd name="T3" fmla="*/ 525 h 525"/>
                <a:gd name="T4" fmla="*/ 78 w 266"/>
                <a:gd name="T5" fmla="*/ 525 h 525"/>
                <a:gd name="T6" fmla="*/ 243 w 266"/>
                <a:gd name="T7" fmla="*/ 389 h 525"/>
                <a:gd name="T8" fmla="*/ 266 w 266"/>
                <a:gd name="T9" fmla="*/ 211 h 525"/>
                <a:gd name="T10" fmla="*/ 249 w 266"/>
                <a:gd name="T11" fmla="*/ 27 h 525"/>
                <a:gd name="T12" fmla="*/ 246 w 266"/>
                <a:gd name="T13" fmla="*/ 11 h 525"/>
                <a:gd name="T14" fmla="*/ 238 w 266"/>
                <a:gd name="T15" fmla="*/ 0 h 525"/>
                <a:gd name="T16" fmla="*/ 232 w 266"/>
                <a:gd name="T17" fmla="*/ 3 h 525"/>
                <a:gd name="T18" fmla="*/ 225 w 266"/>
                <a:gd name="T19" fmla="*/ 8 h 525"/>
                <a:gd name="T20" fmla="*/ 207 w 266"/>
                <a:gd name="T21" fmla="*/ 24 h 525"/>
                <a:gd name="T22" fmla="*/ 146 w 266"/>
                <a:gd name="T23" fmla="*/ 84 h 525"/>
                <a:gd name="T24" fmla="*/ 23 w 266"/>
                <a:gd name="T25" fmla="*/ 289 h 525"/>
                <a:gd name="T26" fmla="*/ 0 w 266"/>
                <a:gd name="T27" fmla="*/ 417 h 525"/>
                <a:gd name="T28" fmla="*/ 13 w 266"/>
                <a:gd name="T29" fmla="*/ 483 h 525"/>
                <a:gd name="T30" fmla="*/ 50 w 266"/>
                <a:gd name="T31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525">
                  <a:moveTo>
                    <a:pt x="50" y="520"/>
                  </a:moveTo>
                  <a:cubicBezTo>
                    <a:pt x="57" y="523"/>
                    <a:pt x="67" y="525"/>
                    <a:pt x="78" y="525"/>
                  </a:cubicBezTo>
                  <a:cubicBezTo>
                    <a:pt x="78" y="525"/>
                    <a:pt x="78" y="525"/>
                    <a:pt x="78" y="525"/>
                  </a:cubicBezTo>
                  <a:cubicBezTo>
                    <a:pt x="129" y="525"/>
                    <a:pt x="213" y="483"/>
                    <a:pt x="243" y="389"/>
                  </a:cubicBezTo>
                  <a:cubicBezTo>
                    <a:pt x="258" y="338"/>
                    <a:pt x="266" y="278"/>
                    <a:pt x="266" y="211"/>
                  </a:cubicBezTo>
                  <a:cubicBezTo>
                    <a:pt x="266" y="127"/>
                    <a:pt x="254" y="54"/>
                    <a:pt x="249" y="27"/>
                  </a:cubicBezTo>
                  <a:cubicBezTo>
                    <a:pt x="247" y="16"/>
                    <a:pt x="246" y="11"/>
                    <a:pt x="246" y="11"/>
                  </a:cubicBezTo>
                  <a:cubicBezTo>
                    <a:pt x="245" y="6"/>
                    <a:pt x="242" y="0"/>
                    <a:pt x="238" y="0"/>
                  </a:cubicBezTo>
                  <a:cubicBezTo>
                    <a:pt x="236" y="0"/>
                    <a:pt x="234" y="1"/>
                    <a:pt x="232" y="3"/>
                  </a:cubicBezTo>
                  <a:cubicBezTo>
                    <a:pt x="231" y="3"/>
                    <a:pt x="229" y="5"/>
                    <a:pt x="225" y="8"/>
                  </a:cubicBezTo>
                  <a:cubicBezTo>
                    <a:pt x="221" y="12"/>
                    <a:pt x="215" y="17"/>
                    <a:pt x="207" y="24"/>
                  </a:cubicBezTo>
                  <a:cubicBezTo>
                    <a:pt x="195" y="34"/>
                    <a:pt x="173" y="55"/>
                    <a:pt x="146" y="84"/>
                  </a:cubicBezTo>
                  <a:cubicBezTo>
                    <a:pt x="104" y="131"/>
                    <a:pt x="49" y="204"/>
                    <a:pt x="23" y="289"/>
                  </a:cubicBezTo>
                  <a:cubicBezTo>
                    <a:pt x="7" y="339"/>
                    <a:pt x="0" y="382"/>
                    <a:pt x="0" y="417"/>
                  </a:cubicBezTo>
                  <a:cubicBezTo>
                    <a:pt x="0" y="443"/>
                    <a:pt x="4" y="465"/>
                    <a:pt x="13" y="483"/>
                  </a:cubicBezTo>
                  <a:cubicBezTo>
                    <a:pt x="21" y="500"/>
                    <a:pt x="33" y="512"/>
                    <a:pt x="50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0" name="Freeform 23"/>
            <p:cNvSpPr>
              <a:spLocks/>
            </p:cNvSpPr>
            <p:nvPr userDrawn="1"/>
          </p:nvSpPr>
          <p:spPr bwMode="auto">
            <a:xfrm>
              <a:off x="-1597025" y="663575"/>
              <a:ext cx="900113" cy="1968500"/>
            </a:xfrm>
            <a:custGeom>
              <a:avLst/>
              <a:gdLst>
                <a:gd name="T0" fmla="*/ 238 w 240"/>
                <a:gd name="T1" fmla="*/ 267 h 525"/>
                <a:gd name="T2" fmla="*/ 240 w 240"/>
                <a:gd name="T3" fmla="*/ 261 h 525"/>
                <a:gd name="T4" fmla="*/ 43 w 240"/>
                <a:gd name="T5" fmla="*/ 8 h 525"/>
                <a:gd name="T6" fmla="*/ 36 w 240"/>
                <a:gd name="T7" fmla="*/ 3 h 525"/>
                <a:gd name="T8" fmla="*/ 29 w 240"/>
                <a:gd name="T9" fmla="*/ 0 h 525"/>
                <a:gd name="T10" fmla="*/ 21 w 240"/>
                <a:gd name="T11" fmla="*/ 11 h 525"/>
                <a:gd name="T12" fmla="*/ 18 w 240"/>
                <a:gd name="T13" fmla="*/ 27 h 525"/>
                <a:gd name="T14" fmla="*/ 10 w 240"/>
                <a:gd name="T15" fmla="*/ 70 h 525"/>
                <a:gd name="T16" fmla="*/ 0 w 240"/>
                <a:gd name="T17" fmla="*/ 211 h 525"/>
                <a:gd name="T18" fmla="*/ 24 w 240"/>
                <a:gd name="T19" fmla="*/ 388 h 525"/>
                <a:gd name="T20" fmla="*/ 193 w 240"/>
                <a:gd name="T21" fmla="*/ 525 h 525"/>
                <a:gd name="T22" fmla="*/ 193 w 240"/>
                <a:gd name="T23" fmla="*/ 525 h 525"/>
                <a:gd name="T24" fmla="*/ 222 w 240"/>
                <a:gd name="T25" fmla="*/ 520 h 525"/>
                <a:gd name="T26" fmla="*/ 235 w 240"/>
                <a:gd name="T27" fmla="*/ 513 h 525"/>
                <a:gd name="T28" fmla="*/ 224 w 240"/>
                <a:gd name="T29" fmla="*/ 495 h 525"/>
                <a:gd name="T30" fmla="*/ 209 w 240"/>
                <a:gd name="T31" fmla="*/ 417 h 525"/>
                <a:gd name="T32" fmla="*/ 233 w 240"/>
                <a:gd name="T33" fmla="*/ 281 h 525"/>
                <a:gd name="T34" fmla="*/ 238 w 240"/>
                <a:gd name="T35" fmla="*/ 26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525">
                  <a:moveTo>
                    <a:pt x="238" y="267"/>
                  </a:moveTo>
                  <a:cubicBezTo>
                    <a:pt x="238" y="265"/>
                    <a:pt x="239" y="263"/>
                    <a:pt x="240" y="261"/>
                  </a:cubicBezTo>
                  <a:cubicBezTo>
                    <a:pt x="184" y="123"/>
                    <a:pt x="57" y="20"/>
                    <a:pt x="43" y="8"/>
                  </a:cubicBezTo>
                  <a:cubicBezTo>
                    <a:pt x="38" y="5"/>
                    <a:pt x="36" y="3"/>
                    <a:pt x="36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5" y="0"/>
                    <a:pt x="22" y="6"/>
                    <a:pt x="21" y="11"/>
                  </a:cubicBezTo>
                  <a:cubicBezTo>
                    <a:pt x="20" y="12"/>
                    <a:pt x="19" y="17"/>
                    <a:pt x="18" y="27"/>
                  </a:cubicBezTo>
                  <a:cubicBezTo>
                    <a:pt x="16" y="34"/>
                    <a:pt x="13" y="49"/>
                    <a:pt x="10" y="70"/>
                  </a:cubicBezTo>
                  <a:cubicBezTo>
                    <a:pt x="6" y="103"/>
                    <a:pt x="0" y="154"/>
                    <a:pt x="0" y="211"/>
                  </a:cubicBezTo>
                  <a:cubicBezTo>
                    <a:pt x="0" y="279"/>
                    <a:pt x="8" y="339"/>
                    <a:pt x="24" y="388"/>
                  </a:cubicBezTo>
                  <a:cubicBezTo>
                    <a:pt x="54" y="483"/>
                    <a:pt x="140" y="525"/>
                    <a:pt x="193" y="525"/>
                  </a:cubicBezTo>
                  <a:cubicBezTo>
                    <a:pt x="193" y="525"/>
                    <a:pt x="193" y="525"/>
                    <a:pt x="193" y="525"/>
                  </a:cubicBezTo>
                  <a:cubicBezTo>
                    <a:pt x="204" y="525"/>
                    <a:pt x="214" y="523"/>
                    <a:pt x="222" y="520"/>
                  </a:cubicBezTo>
                  <a:cubicBezTo>
                    <a:pt x="226" y="518"/>
                    <a:pt x="230" y="516"/>
                    <a:pt x="235" y="513"/>
                  </a:cubicBezTo>
                  <a:cubicBezTo>
                    <a:pt x="231" y="508"/>
                    <a:pt x="227" y="502"/>
                    <a:pt x="224" y="495"/>
                  </a:cubicBezTo>
                  <a:cubicBezTo>
                    <a:pt x="214" y="474"/>
                    <a:pt x="209" y="449"/>
                    <a:pt x="209" y="417"/>
                  </a:cubicBezTo>
                  <a:cubicBezTo>
                    <a:pt x="209" y="378"/>
                    <a:pt x="217" y="332"/>
                    <a:pt x="233" y="281"/>
                  </a:cubicBezTo>
                  <a:cubicBezTo>
                    <a:pt x="235" y="276"/>
                    <a:pt x="236" y="271"/>
                    <a:pt x="238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1" name="Freeform 24"/>
            <p:cNvSpPr>
              <a:spLocks/>
            </p:cNvSpPr>
            <p:nvPr userDrawn="1"/>
          </p:nvSpPr>
          <p:spPr bwMode="auto">
            <a:xfrm>
              <a:off x="-1143000" y="-179387"/>
              <a:ext cx="982663" cy="1682750"/>
            </a:xfrm>
            <a:custGeom>
              <a:avLst/>
              <a:gdLst>
                <a:gd name="T0" fmla="*/ 134 w 262"/>
                <a:gd name="T1" fmla="*/ 449 h 449"/>
                <a:gd name="T2" fmla="*/ 262 w 262"/>
                <a:gd name="T3" fmla="*/ 268 h 449"/>
                <a:gd name="T4" fmla="*/ 147 w 262"/>
                <a:gd name="T5" fmla="*/ 18 h 449"/>
                <a:gd name="T6" fmla="*/ 140 w 262"/>
                <a:gd name="T7" fmla="*/ 7 h 449"/>
                <a:gd name="T8" fmla="*/ 131 w 262"/>
                <a:gd name="T9" fmla="*/ 0 h 449"/>
                <a:gd name="T10" fmla="*/ 122 w 262"/>
                <a:gd name="T11" fmla="*/ 7 h 449"/>
                <a:gd name="T12" fmla="*/ 115 w 262"/>
                <a:gd name="T13" fmla="*/ 18 h 449"/>
                <a:gd name="T14" fmla="*/ 96 w 262"/>
                <a:gd name="T15" fmla="*/ 50 h 449"/>
                <a:gd name="T16" fmla="*/ 40 w 262"/>
                <a:gd name="T17" fmla="*/ 162 h 449"/>
                <a:gd name="T18" fmla="*/ 0 w 262"/>
                <a:gd name="T19" fmla="*/ 265 h 449"/>
                <a:gd name="T20" fmla="*/ 134 w 262"/>
                <a:gd name="T21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2" h="449">
                  <a:moveTo>
                    <a:pt x="134" y="449"/>
                  </a:moveTo>
                  <a:cubicBezTo>
                    <a:pt x="162" y="388"/>
                    <a:pt x="205" y="327"/>
                    <a:pt x="262" y="268"/>
                  </a:cubicBezTo>
                  <a:cubicBezTo>
                    <a:pt x="223" y="150"/>
                    <a:pt x="169" y="54"/>
                    <a:pt x="147" y="18"/>
                  </a:cubicBezTo>
                  <a:cubicBezTo>
                    <a:pt x="143" y="11"/>
                    <a:pt x="140" y="7"/>
                    <a:pt x="140" y="7"/>
                  </a:cubicBezTo>
                  <a:cubicBezTo>
                    <a:pt x="136" y="0"/>
                    <a:pt x="132" y="0"/>
                    <a:pt x="131" y="0"/>
                  </a:cubicBezTo>
                  <a:cubicBezTo>
                    <a:pt x="128" y="0"/>
                    <a:pt x="125" y="2"/>
                    <a:pt x="122" y="7"/>
                  </a:cubicBezTo>
                  <a:cubicBezTo>
                    <a:pt x="122" y="7"/>
                    <a:pt x="119" y="11"/>
                    <a:pt x="115" y="18"/>
                  </a:cubicBezTo>
                  <a:cubicBezTo>
                    <a:pt x="108" y="29"/>
                    <a:pt x="102" y="39"/>
                    <a:pt x="96" y="50"/>
                  </a:cubicBezTo>
                  <a:cubicBezTo>
                    <a:pt x="83" y="74"/>
                    <a:pt x="62" y="113"/>
                    <a:pt x="40" y="162"/>
                  </a:cubicBezTo>
                  <a:cubicBezTo>
                    <a:pt x="26" y="196"/>
                    <a:pt x="12" y="230"/>
                    <a:pt x="0" y="265"/>
                  </a:cubicBezTo>
                  <a:cubicBezTo>
                    <a:pt x="42" y="307"/>
                    <a:pt x="97" y="371"/>
                    <a:pt x="134" y="4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2" name="Freeform 25"/>
            <p:cNvSpPr>
              <a:spLocks/>
            </p:cNvSpPr>
            <p:nvPr userDrawn="1"/>
          </p:nvSpPr>
          <p:spPr bwMode="auto">
            <a:xfrm>
              <a:off x="15875" y="239713"/>
              <a:ext cx="952500" cy="2339975"/>
            </a:xfrm>
            <a:custGeom>
              <a:avLst/>
              <a:gdLst>
                <a:gd name="T0" fmla="*/ 61 w 254"/>
                <a:gd name="T1" fmla="*/ 88 h 624"/>
                <a:gd name="T2" fmla="*/ 82 w 254"/>
                <a:gd name="T3" fmla="*/ 118 h 624"/>
                <a:gd name="T4" fmla="*/ 82 w 254"/>
                <a:gd name="T5" fmla="*/ 119 h 624"/>
                <a:gd name="T6" fmla="*/ 103 w 254"/>
                <a:gd name="T7" fmla="*/ 324 h 624"/>
                <a:gd name="T8" fmla="*/ 78 w 254"/>
                <a:gd name="T9" fmla="*/ 510 h 624"/>
                <a:gd name="T10" fmla="*/ 0 w 254"/>
                <a:gd name="T11" fmla="*/ 624 h 624"/>
                <a:gd name="T12" fmla="*/ 182 w 254"/>
                <a:gd name="T13" fmla="*/ 496 h 624"/>
                <a:gd name="T14" fmla="*/ 254 w 254"/>
                <a:gd name="T15" fmla="*/ 157 h 624"/>
                <a:gd name="T16" fmla="*/ 250 w 254"/>
                <a:gd name="T17" fmla="*/ 55 h 624"/>
                <a:gd name="T18" fmla="*/ 245 w 254"/>
                <a:gd name="T19" fmla="*/ 15 h 624"/>
                <a:gd name="T20" fmla="*/ 230 w 254"/>
                <a:gd name="T21" fmla="*/ 0 h 624"/>
                <a:gd name="T22" fmla="*/ 222 w 254"/>
                <a:gd name="T23" fmla="*/ 2 h 624"/>
                <a:gd name="T24" fmla="*/ 222 w 254"/>
                <a:gd name="T25" fmla="*/ 2 h 624"/>
                <a:gd name="T26" fmla="*/ 222 w 254"/>
                <a:gd name="T27" fmla="*/ 2 h 624"/>
                <a:gd name="T28" fmla="*/ 211 w 254"/>
                <a:gd name="T29" fmla="*/ 7 h 624"/>
                <a:gd name="T30" fmla="*/ 182 w 254"/>
                <a:gd name="T31" fmla="*/ 20 h 624"/>
                <a:gd name="T32" fmla="*/ 178 w 254"/>
                <a:gd name="T33" fmla="*/ 22 h 624"/>
                <a:gd name="T34" fmla="*/ 72 w 254"/>
                <a:gd name="T35" fmla="*/ 80 h 624"/>
                <a:gd name="T36" fmla="*/ 61 w 254"/>
                <a:gd name="T37" fmla="*/ 8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" h="624">
                  <a:moveTo>
                    <a:pt x="61" y="88"/>
                  </a:moveTo>
                  <a:cubicBezTo>
                    <a:pt x="71" y="93"/>
                    <a:pt x="79" y="104"/>
                    <a:pt x="82" y="118"/>
                  </a:cubicBezTo>
                  <a:cubicBezTo>
                    <a:pt x="82" y="118"/>
                    <a:pt x="82" y="118"/>
                    <a:pt x="82" y="119"/>
                  </a:cubicBezTo>
                  <a:cubicBezTo>
                    <a:pt x="87" y="142"/>
                    <a:pt x="103" y="226"/>
                    <a:pt x="103" y="324"/>
                  </a:cubicBezTo>
                  <a:cubicBezTo>
                    <a:pt x="103" y="394"/>
                    <a:pt x="95" y="457"/>
                    <a:pt x="78" y="510"/>
                  </a:cubicBezTo>
                  <a:cubicBezTo>
                    <a:pt x="61" y="566"/>
                    <a:pt x="28" y="602"/>
                    <a:pt x="0" y="624"/>
                  </a:cubicBezTo>
                  <a:cubicBezTo>
                    <a:pt x="72" y="620"/>
                    <a:pt x="136" y="575"/>
                    <a:pt x="182" y="496"/>
                  </a:cubicBezTo>
                  <a:cubicBezTo>
                    <a:pt x="242" y="391"/>
                    <a:pt x="254" y="253"/>
                    <a:pt x="254" y="157"/>
                  </a:cubicBezTo>
                  <a:cubicBezTo>
                    <a:pt x="254" y="122"/>
                    <a:pt x="253" y="88"/>
                    <a:pt x="250" y="55"/>
                  </a:cubicBezTo>
                  <a:cubicBezTo>
                    <a:pt x="248" y="30"/>
                    <a:pt x="246" y="15"/>
                    <a:pt x="245" y="15"/>
                  </a:cubicBezTo>
                  <a:cubicBezTo>
                    <a:pt x="244" y="6"/>
                    <a:pt x="239" y="0"/>
                    <a:pt x="230" y="0"/>
                  </a:cubicBezTo>
                  <a:cubicBezTo>
                    <a:pt x="228" y="0"/>
                    <a:pt x="226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2" y="2"/>
                    <a:pt x="218" y="4"/>
                    <a:pt x="211" y="7"/>
                  </a:cubicBezTo>
                  <a:cubicBezTo>
                    <a:pt x="204" y="10"/>
                    <a:pt x="194" y="14"/>
                    <a:pt x="182" y="20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42" y="39"/>
                    <a:pt x="106" y="59"/>
                    <a:pt x="72" y="80"/>
                  </a:cubicBezTo>
                  <a:cubicBezTo>
                    <a:pt x="68" y="83"/>
                    <a:pt x="64" y="85"/>
                    <a:pt x="6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3" name="Freeform 26"/>
            <p:cNvSpPr>
              <a:spLocks/>
            </p:cNvSpPr>
            <p:nvPr userDrawn="1"/>
          </p:nvSpPr>
          <p:spPr bwMode="auto">
            <a:xfrm>
              <a:off x="-284163" y="-63500"/>
              <a:ext cx="581025" cy="738188"/>
            </a:xfrm>
            <a:custGeom>
              <a:avLst/>
              <a:gdLst>
                <a:gd name="T0" fmla="*/ 155 w 155"/>
                <a:gd name="T1" fmla="*/ 126 h 197"/>
                <a:gd name="T2" fmla="*/ 126 w 155"/>
                <a:gd name="T3" fmla="*/ 13 h 197"/>
                <a:gd name="T4" fmla="*/ 126 w 155"/>
                <a:gd name="T5" fmla="*/ 12 h 197"/>
                <a:gd name="T6" fmla="*/ 111 w 155"/>
                <a:gd name="T7" fmla="*/ 0 h 197"/>
                <a:gd name="T8" fmla="*/ 108 w 155"/>
                <a:gd name="T9" fmla="*/ 0 h 197"/>
                <a:gd name="T10" fmla="*/ 108 w 155"/>
                <a:gd name="T11" fmla="*/ 0 h 197"/>
                <a:gd name="T12" fmla="*/ 108 w 155"/>
                <a:gd name="T13" fmla="*/ 0 h 197"/>
                <a:gd name="T14" fmla="*/ 101 w 155"/>
                <a:gd name="T15" fmla="*/ 3 h 197"/>
                <a:gd name="T16" fmla="*/ 101 w 155"/>
                <a:gd name="T17" fmla="*/ 3 h 197"/>
                <a:gd name="T18" fmla="*/ 101 w 155"/>
                <a:gd name="T19" fmla="*/ 3 h 197"/>
                <a:gd name="T20" fmla="*/ 61 w 155"/>
                <a:gd name="T21" fmla="*/ 30 h 197"/>
                <a:gd name="T22" fmla="*/ 0 w 155"/>
                <a:gd name="T23" fmla="*/ 77 h 197"/>
                <a:gd name="T24" fmla="*/ 50 w 155"/>
                <a:gd name="T25" fmla="*/ 197 h 197"/>
                <a:gd name="T26" fmla="*/ 155 w 155"/>
                <a:gd name="T27" fmla="*/ 12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126"/>
                  </a:moveTo>
                  <a:cubicBezTo>
                    <a:pt x="144" y="70"/>
                    <a:pt x="131" y="28"/>
                    <a:pt x="126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3" y="4"/>
                    <a:pt x="118" y="0"/>
                    <a:pt x="111" y="0"/>
                  </a:cubicBezTo>
                  <a:cubicBezTo>
                    <a:pt x="110" y="0"/>
                    <a:pt x="109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6" y="0"/>
                    <a:pt x="103" y="1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85" y="12"/>
                    <a:pt x="61" y="30"/>
                  </a:cubicBezTo>
                  <a:cubicBezTo>
                    <a:pt x="47" y="40"/>
                    <a:pt x="26" y="56"/>
                    <a:pt x="0" y="77"/>
                  </a:cubicBezTo>
                  <a:cubicBezTo>
                    <a:pt x="19" y="117"/>
                    <a:pt x="36" y="157"/>
                    <a:pt x="50" y="197"/>
                  </a:cubicBezTo>
                  <a:cubicBezTo>
                    <a:pt x="82" y="172"/>
                    <a:pt x="116" y="149"/>
                    <a:pt x="155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4" name="Freeform 27"/>
            <p:cNvSpPr>
              <a:spLocks/>
            </p:cNvSpPr>
            <p:nvPr userDrawn="1"/>
          </p:nvSpPr>
          <p:spPr bwMode="auto">
            <a:xfrm>
              <a:off x="-1600200" y="-63500"/>
              <a:ext cx="581025" cy="738188"/>
            </a:xfrm>
            <a:custGeom>
              <a:avLst/>
              <a:gdLst>
                <a:gd name="T0" fmla="*/ 155 w 155"/>
                <a:gd name="T1" fmla="*/ 77 h 197"/>
                <a:gd name="T2" fmla="*/ 94 w 155"/>
                <a:gd name="T3" fmla="*/ 30 h 197"/>
                <a:gd name="T4" fmla="*/ 54 w 155"/>
                <a:gd name="T5" fmla="*/ 3 h 197"/>
                <a:gd name="T6" fmla="*/ 54 w 155"/>
                <a:gd name="T7" fmla="*/ 3 h 197"/>
                <a:gd name="T8" fmla="*/ 54 w 155"/>
                <a:gd name="T9" fmla="*/ 3 h 197"/>
                <a:gd name="T10" fmla="*/ 47 w 155"/>
                <a:gd name="T11" fmla="*/ 0 h 197"/>
                <a:gd name="T12" fmla="*/ 47 w 155"/>
                <a:gd name="T13" fmla="*/ 0 h 197"/>
                <a:gd name="T14" fmla="*/ 47 w 155"/>
                <a:gd name="T15" fmla="*/ 0 h 197"/>
                <a:gd name="T16" fmla="*/ 44 w 155"/>
                <a:gd name="T17" fmla="*/ 0 h 197"/>
                <a:gd name="T18" fmla="*/ 29 w 155"/>
                <a:gd name="T19" fmla="*/ 12 h 197"/>
                <a:gd name="T20" fmla="*/ 29 w 155"/>
                <a:gd name="T21" fmla="*/ 13 h 197"/>
                <a:gd name="T22" fmla="*/ 0 w 155"/>
                <a:gd name="T23" fmla="*/ 126 h 197"/>
                <a:gd name="T24" fmla="*/ 105 w 155"/>
                <a:gd name="T25" fmla="*/ 197 h 197"/>
                <a:gd name="T26" fmla="*/ 155 w 155"/>
                <a:gd name="T27" fmla="*/ 7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97">
                  <a:moveTo>
                    <a:pt x="155" y="77"/>
                  </a:moveTo>
                  <a:cubicBezTo>
                    <a:pt x="135" y="60"/>
                    <a:pt x="114" y="44"/>
                    <a:pt x="94" y="30"/>
                  </a:cubicBezTo>
                  <a:cubicBezTo>
                    <a:pt x="70" y="12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2" y="1"/>
                    <a:pt x="49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37" y="0"/>
                    <a:pt x="32" y="4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4" y="28"/>
                    <a:pt x="11" y="70"/>
                    <a:pt x="0" y="126"/>
                  </a:cubicBezTo>
                  <a:cubicBezTo>
                    <a:pt x="39" y="149"/>
                    <a:pt x="73" y="172"/>
                    <a:pt x="105" y="197"/>
                  </a:cubicBezTo>
                  <a:cubicBezTo>
                    <a:pt x="119" y="158"/>
                    <a:pt x="136" y="118"/>
                    <a:pt x="15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5" name="Freeform 28"/>
            <p:cNvSpPr>
              <a:spLocks/>
            </p:cNvSpPr>
            <p:nvPr userDrawn="1"/>
          </p:nvSpPr>
          <p:spPr bwMode="auto">
            <a:xfrm>
              <a:off x="-2973388" y="914400"/>
              <a:ext cx="633413" cy="657225"/>
            </a:xfrm>
            <a:custGeom>
              <a:avLst/>
              <a:gdLst>
                <a:gd name="T0" fmla="*/ 169 w 169"/>
                <a:gd name="T1" fmla="*/ 133 h 175"/>
                <a:gd name="T2" fmla="*/ 158 w 169"/>
                <a:gd name="T3" fmla="*/ 5 h 175"/>
                <a:gd name="T4" fmla="*/ 70 w 169"/>
                <a:gd name="T5" fmla="*/ 0 h 175"/>
                <a:gd name="T6" fmla="*/ 59 w 169"/>
                <a:gd name="T7" fmla="*/ 0 h 175"/>
                <a:gd name="T8" fmla="*/ 26 w 169"/>
                <a:gd name="T9" fmla="*/ 0 h 175"/>
                <a:gd name="T10" fmla="*/ 5 w 169"/>
                <a:gd name="T11" fmla="*/ 13 h 175"/>
                <a:gd name="T12" fmla="*/ 0 w 169"/>
                <a:gd name="T13" fmla="*/ 28 h 175"/>
                <a:gd name="T14" fmla="*/ 74 w 169"/>
                <a:gd name="T15" fmla="*/ 175 h 175"/>
                <a:gd name="T16" fmla="*/ 169 w 169"/>
                <a:gd name="T17" fmla="*/ 13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133"/>
                  </a:moveTo>
                  <a:cubicBezTo>
                    <a:pt x="163" y="93"/>
                    <a:pt x="159" y="50"/>
                    <a:pt x="158" y="5"/>
                  </a:cubicBezTo>
                  <a:cubicBezTo>
                    <a:pt x="119" y="1"/>
                    <a:pt x="89" y="0"/>
                    <a:pt x="70" y="0"/>
                  </a:cubicBezTo>
                  <a:cubicBezTo>
                    <a:pt x="66" y="0"/>
                    <a:pt x="63" y="0"/>
                    <a:pt x="59" y="0"/>
                  </a:cubicBezTo>
                  <a:cubicBezTo>
                    <a:pt x="38" y="0"/>
                    <a:pt x="26" y="0"/>
                    <a:pt x="26" y="0"/>
                  </a:cubicBezTo>
                  <a:cubicBezTo>
                    <a:pt x="17" y="1"/>
                    <a:pt x="10" y="5"/>
                    <a:pt x="5" y="13"/>
                  </a:cubicBezTo>
                  <a:cubicBezTo>
                    <a:pt x="2" y="17"/>
                    <a:pt x="0" y="23"/>
                    <a:pt x="0" y="28"/>
                  </a:cubicBezTo>
                  <a:cubicBezTo>
                    <a:pt x="2" y="43"/>
                    <a:pt x="11" y="95"/>
                    <a:pt x="74" y="175"/>
                  </a:cubicBezTo>
                  <a:cubicBezTo>
                    <a:pt x="106" y="159"/>
                    <a:pt x="138" y="145"/>
                    <a:pt x="16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6" name="Freeform 29"/>
            <p:cNvSpPr>
              <a:spLocks/>
            </p:cNvSpPr>
            <p:nvPr userDrawn="1"/>
          </p:nvSpPr>
          <p:spPr bwMode="auto">
            <a:xfrm>
              <a:off x="1035050" y="914400"/>
              <a:ext cx="635000" cy="657225"/>
            </a:xfrm>
            <a:custGeom>
              <a:avLst/>
              <a:gdLst>
                <a:gd name="T0" fmla="*/ 169 w 169"/>
                <a:gd name="T1" fmla="*/ 28 h 175"/>
                <a:gd name="T2" fmla="*/ 164 w 169"/>
                <a:gd name="T3" fmla="*/ 13 h 175"/>
                <a:gd name="T4" fmla="*/ 143 w 169"/>
                <a:gd name="T5" fmla="*/ 0 h 175"/>
                <a:gd name="T6" fmla="*/ 110 w 169"/>
                <a:gd name="T7" fmla="*/ 0 h 175"/>
                <a:gd name="T8" fmla="*/ 99 w 169"/>
                <a:gd name="T9" fmla="*/ 0 h 175"/>
                <a:gd name="T10" fmla="*/ 11 w 169"/>
                <a:gd name="T11" fmla="*/ 5 h 175"/>
                <a:gd name="T12" fmla="*/ 0 w 169"/>
                <a:gd name="T13" fmla="*/ 133 h 175"/>
                <a:gd name="T14" fmla="*/ 95 w 169"/>
                <a:gd name="T15" fmla="*/ 175 h 175"/>
                <a:gd name="T16" fmla="*/ 169 w 169"/>
                <a:gd name="T17" fmla="*/ 2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75">
                  <a:moveTo>
                    <a:pt x="169" y="28"/>
                  </a:moveTo>
                  <a:cubicBezTo>
                    <a:pt x="169" y="23"/>
                    <a:pt x="166" y="16"/>
                    <a:pt x="164" y="13"/>
                  </a:cubicBezTo>
                  <a:cubicBezTo>
                    <a:pt x="159" y="5"/>
                    <a:pt x="152" y="1"/>
                    <a:pt x="143" y="0"/>
                  </a:cubicBezTo>
                  <a:cubicBezTo>
                    <a:pt x="143" y="0"/>
                    <a:pt x="131" y="0"/>
                    <a:pt x="110" y="0"/>
                  </a:cubicBezTo>
                  <a:cubicBezTo>
                    <a:pt x="106" y="0"/>
                    <a:pt x="103" y="0"/>
                    <a:pt x="99" y="0"/>
                  </a:cubicBezTo>
                  <a:cubicBezTo>
                    <a:pt x="80" y="0"/>
                    <a:pt x="49" y="1"/>
                    <a:pt x="11" y="5"/>
                  </a:cubicBezTo>
                  <a:cubicBezTo>
                    <a:pt x="10" y="49"/>
                    <a:pt x="6" y="92"/>
                    <a:pt x="0" y="133"/>
                  </a:cubicBezTo>
                  <a:cubicBezTo>
                    <a:pt x="31" y="145"/>
                    <a:pt x="63" y="159"/>
                    <a:pt x="95" y="175"/>
                  </a:cubicBezTo>
                  <a:cubicBezTo>
                    <a:pt x="158" y="95"/>
                    <a:pt x="167" y="43"/>
                    <a:pt x="16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7" name="Freeform 30"/>
            <p:cNvSpPr>
              <a:spLocks/>
            </p:cNvSpPr>
            <p:nvPr userDrawn="1"/>
          </p:nvSpPr>
          <p:spPr bwMode="auto">
            <a:xfrm>
              <a:off x="401638" y="1522413"/>
              <a:ext cx="1485900" cy="1046163"/>
            </a:xfrm>
            <a:custGeom>
              <a:avLst/>
              <a:gdLst>
                <a:gd name="T0" fmla="*/ 385 w 396"/>
                <a:gd name="T1" fmla="*/ 119 h 279"/>
                <a:gd name="T2" fmla="*/ 376 w 396"/>
                <a:gd name="T3" fmla="*/ 112 h 279"/>
                <a:gd name="T4" fmla="*/ 375 w 396"/>
                <a:gd name="T5" fmla="*/ 112 h 279"/>
                <a:gd name="T6" fmla="*/ 375 w 396"/>
                <a:gd name="T7" fmla="*/ 112 h 279"/>
                <a:gd name="T8" fmla="*/ 355 w 396"/>
                <a:gd name="T9" fmla="*/ 99 h 279"/>
                <a:gd name="T10" fmla="*/ 348 w 396"/>
                <a:gd name="T11" fmla="*/ 94 h 279"/>
                <a:gd name="T12" fmla="*/ 250 w 396"/>
                <a:gd name="T13" fmla="*/ 38 h 279"/>
                <a:gd name="T14" fmla="*/ 164 w 396"/>
                <a:gd name="T15" fmla="*/ 0 h 279"/>
                <a:gd name="T16" fmla="*/ 104 w 396"/>
                <a:gd name="T17" fmla="*/ 168 h 279"/>
                <a:gd name="T18" fmla="*/ 0 w 396"/>
                <a:gd name="T19" fmla="*/ 279 h 279"/>
                <a:gd name="T20" fmla="*/ 391 w 396"/>
                <a:gd name="T21" fmla="*/ 156 h 279"/>
                <a:gd name="T22" fmla="*/ 391 w 396"/>
                <a:gd name="T23" fmla="*/ 156 h 279"/>
                <a:gd name="T24" fmla="*/ 396 w 396"/>
                <a:gd name="T25" fmla="*/ 141 h 279"/>
                <a:gd name="T26" fmla="*/ 385 w 396"/>
                <a:gd name="T27" fmla="*/ 11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6" h="279">
                  <a:moveTo>
                    <a:pt x="385" y="119"/>
                  </a:moveTo>
                  <a:cubicBezTo>
                    <a:pt x="385" y="119"/>
                    <a:pt x="382" y="117"/>
                    <a:pt x="376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1" y="109"/>
                    <a:pt x="364" y="104"/>
                    <a:pt x="355" y="99"/>
                  </a:cubicBezTo>
                  <a:cubicBezTo>
                    <a:pt x="353" y="97"/>
                    <a:pt x="350" y="96"/>
                    <a:pt x="348" y="94"/>
                  </a:cubicBezTo>
                  <a:cubicBezTo>
                    <a:pt x="327" y="80"/>
                    <a:pt x="292" y="59"/>
                    <a:pt x="250" y="38"/>
                  </a:cubicBezTo>
                  <a:cubicBezTo>
                    <a:pt x="221" y="24"/>
                    <a:pt x="192" y="11"/>
                    <a:pt x="164" y="0"/>
                  </a:cubicBezTo>
                  <a:cubicBezTo>
                    <a:pt x="151" y="65"/>
                    <a:pt x="131" y="121"/>
                    <a:pt x="104" y="168"/>
                  </a:cubicBezTo>
                  <a:cubicBezTo>
                    <a:pt x="76" y="217"/>
                    <a:pt x="41" y="255"/>
                    <a:pt x="0" y="279"/>
                  </a:cubicBezTo>
                  <a:cubicBezTo>
                    <a:pt x="298" y="263"/>
                    <a:pt x="383" y="167"/>
                    <a:pt x="391" y="156"/>
                  </a:cubicBezTo>
                  <a:cubicBezTo>
                    <a:pt x="391" y="156"/>
                    <a:pt x="391" y="156"/>
                    <a:pt x="391" y="156"/>
                  </a:cubicBezTo>
                  <a:cubicBezTo>
                    <a:pt x="394" y="151"/>
                    <a:pt x="396" y="146"/>
                    <a:pt x="396" y="141"/>
                  </a:cubicBezTo>
                  <a:cubicBezTo>
                    <a:pt x="396" y="132"/>
                    <a:pt x="392" y="124"/>
                    <a:pt x="38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8" name="Freeform 31"/>
            <p:cNvSpPr>
              <a:spLocks/>
            </p:cNvSpPr>
            <p:nvPr userDrawn="1"/>
          </p:nvSpPr>
          <p:spPr bwMode="auto">
            <a:xfrm>
              <a:off x="-3190875" y="1522413"/>
              <a:ext cx="1485900" cy="1046163"/>
            </a:xfrm>
            <a:custGeom>
              <a:avLst/>
              <a:gdLst>
                <a:gd name="T0" fmla="*/ 396 w 396"/>
                <a:gd name="T1" fmla="*/ 279 h 279"/>
                <a:gd name="T2" fmla="*/ 292 w 396"/>
                <a:gd name="T3" fmla="*/ 168 h 279"/>
                <a:gd name="T4" fmla="*/ 232 w 396"/>
                <a:gd name="T5" fmla="*/ 0 h 279"/>
                <a:gd name="T6" fmla="*/ 20 w 396"/>
                <a:gd name="T7" fmla="*/ 112 h 279"/>
                <a:gd name="T8" fmla="*/ 11 w 396"/>
                <a:gd name="T9" fmla="*/ 119 h 279"/>
                <a:gd name="T10" fmla="*/ 0 w 396"/>
                <a:gd name="T11" fmla="*/ 141 h 279"/>
                <a:gd name="T12" fmla="*/ 5 w 396"/>
                <a:gd name="T13" fmla="*/ 156 h 279"/>
                <a:gd name="T14" fmla="*/ 5 w 396"/>
                <a:gd name="T15" fmla="*/ 157 h 279"/>
                <a:gd name="T16" fmla="*/ 7 w 396"/>
                <a:gd name="T17" fmla="*/ 159 h 279"/>
                <a:gd name="T18" fmla="*/ 8 w 396"/>
                <a:gd name="T19" fmla="*/ 160 h 279"/>
                <a:gd name="T20" fmla="*/ 23 w 396"/>
                <a:gd name="T21" fmla="*/ 174 h 279"/>
                <a:gd name="T22" fmla="*/ 94 w 396"/>
                <a:gd name="T23" fmla="*/ 217 h 279"/>
                <a:gd name="T24" fmla="*/ 396 w 396"/>
                <a:gd name="T2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6" h="279">
                  <a:moveTo>
                    <a:pt x="396" y="279"/>
                  </a:moveTo>
                  <a:cubicBezTo>
                    <a:pt x="356" y="255"/>
                    <a:pt x="320" y="217"/>
                    <a:pt x="292" y="168"/>
                  </a:cubicBezTo>
                  <a:cubicBezTo>
                    <a:pt x="265" y="121"/>
                    <a:pt x="245" y="65"/>
                    <a:pt x="232" y="0"/>
                  </a:cubicBezTo>
                  <a:cubicBezTo>
                    <a:pt x="132" y="38"/>
                    <a:pt x="51" y="91"/>
                    <a:pt x="20" y="112"/>
                  </a:cubicBezTo>
                  <a:cubicBezTo>
                    <a:pt x="14" y="117"/>
                    <a:pt x="11" y="119"/>
                    <a:pt x="11" y="119"/>
                  </a:cubicBezTo>
                  <a:cubicBezTo>
                    <a:pt x="4" y="124"/>
                    <a:pt x="0" y="132"/>
                    <a:pt x="0" y="141"/>
                  </a:cubicBezTo>
                  <a:cubicBezTo>
                    <a:pt x="0" y="146"/>
                    <a:pt x="2" y="151"/>
                    <a:pt x="5" y="156"/>
                  </a:cubicBezTo>
                  <a:cubicBezTo>
                    <a:pt x="5" y="156"/>
                    <a:pt x="5" y="156"/>
                    <a:pt x="5" y="157"/>
                  </a:cubicBezTo>
                  <a:cubicBezTo>
                    <a:pt x="6" y="157"/>
                    <a:pt x="6" y="158"/>
                    <a:pt x="7" y="159"/>
                  </a:cubicBezTo>
                  <a:cubicBezTo>
                    <a:pt x="7" y="159"/>
                    <a:pt x="8" y="160"/>
                    <a:pt x="8" y="160"/>
                  </a:cubicBezTo>
                  <a:cubicBezTo>
                    <a:pt x="10" y="162"/>
                    <a:pt x="15" y="167"/>
                    <a:pt x="23" y="174"/>
                  </a:cubicBezTo>
                  <a:cubicBezTo>
                    <a:pt x="35" y="184"/>
                    <a:pt x="58" y="201"/>
                    <a:pt x="94" y="217"/>
                  </a:cubicBezTo>
                  <a:cubicBezTo>
                    <a:pt x="169" y="251"/>
                    <a:pt x="273" y="273"/>
                    <a:pt x="396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79" name="Freeform 32"/>
            <p:cNvSpPr>
              <a:spLocks/>
            </p:cNvSpPr>
            <p:nvPr userDrawn="1"/>
          </p:nvSpPr>
          <p:spPr bwMode="auto">
            <a:xfrm>
              <a:off x="-523875" y="2651125"/>
              <a:ext cx="1500188" cy="239713"/>
            </a:xfrm>
            <a:custGeom>
              <a:avLst/>
              <a:gdLst>
                <a:gd name="T0" fmla="*/ 7 w 400"/>
                <a:gd name="T1" fmla="*/ 31 h 64"/>
                <a:gd name="T2" fmla="*/ 54 w 400"/>
                <a:gd name="T3" fmla="*/ 29 h 64"/>
                <a:gd name="T4" fmla="*/ 182 w 400"/>
                <a:gd name="T5" fmla="*/ 47 h 64"/>
                <a:gd name="T6" fmla="*/ 292 w 400"/>
                <a:gd name="T7" fmla="*/ 64 h 64"/>
                <a:gd name="T8" fmla="*/ 392 w 400"/>
                <a:gd name="T9" fmla="*/ 37 h 64"/>
                <a:gd name="T10" fmla="*/ 399 w 400"/>
                <a:gd name="T11" fmla="*/ 18 h 64"/>
                <a:gd name="T12" fmla="*/ 373 w 400"/>
                <a:gd name="T13" fmla="*/ 0 h 64"/>
                <a:gd name="T14" fmla="*/ 301 w 400"/>
                <a:gd name="T15" fmla="*/ 8 h 64"/>
                <a:gd name="T16" fmla="*/ 285 w 400"/>
                <a:gd name="T17" fmla="*/ 10 h 64"/>
                <a:gd name="T18" fmla="*/ 227 w 400"/>
                <a:gd name="T19" fmla="*/ 13 h 64"/>
                <a:gd name="T20" fmla="*/ 181 w 400"/>
                <a:gd name="T21" fmla="*/ 12 h 64"/>
                <a:gd name="T22" fmla="*/ 180 w 400"/>
                <a:gd name="T23" fmla="*/ 12 h 64"/>
                <a:gd name="T24" fmla="*/ 129 w 400"/>
                <a:gd name="T25" fmla="*/ 12 h 64"/>
                <a:gd name="T26" fmla="*/ 3 w 400"/>
                <a:gd name="T27" fmla="*/ 25 h 64"/>
                <a:gd name="T28" fmla="*/ 0 w 400"/>
                <a:gd name="T29" fmla="*/ 29 h 64"/>
                <a:gd name="T30" fmla="*/ 5 w 400"/>
                <a:gd name="T31" fmla="*/ 31 h 64"/>
                <a:gd name="T32" fmla="*/ 7 w 400"/>
                <a:gd name="T33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0" h="64">
                  <a:moveTo>
                    <a:pt x="7" y="31"/>
                  </a:moveTo>
                  <a:cubicBezTo>
                    <a:pt x="23" y="29"/>
                    <a:pt x="39" y="29"/>
                    <a:pt x="54" y="29"/>
                  </a:cubicBezTo>
                  <a:cubicBezTo>
                    <a:pt x="109" y="29"/>
                    <a:pt x="146" y="38"/>
                    <a:pt x="182" y="47"/>
                  </a:cubicBezTo>
                  <a:cubicBezTo>
                    <a:pt x="216" y="56"/>
                    <a:pt x="248" y="64"/>
                    <a:pt x="292" y="64"/>
                  </a:cubicBezTo>
                  <a:cubicBezTo>
                    <a:pt x="339" y="64"/>
                    <a:pt x="377" y="54"/>
                    <a:pt x="392" y="37"/>
                  </a:cubicBezTo>
                  <a:cubicBezTo>
                    <a:pt x="397" y="31"/>
                    <a:pt x="400" y="25"/>
                    <a:pt x="399" y="18"/>
                  </a:cubicBezTo>
                  <a:cubicBezTo>
                    <a:pt x="398" y="6"/>
                    <a:pt x="394" y="0"/>
                    <a:pt x="373" y="0"/>
                  </a:cubicBezTo>
                  <a:cubicBezTo>
                    <a:pt x="358" y="0"/>
                    <a:pt x="335" y="3"/>
                    <a:pt x="301" y="8"/>
                  </a:cubicBezTo>
                  <a:cubicBezTo>
                    <a:pt x="296" y="9"/>
                    <a:pt x="290" y="9"/>
                    <a:pt x="285" y="10"/>
                  </a:cubicBezTo>
                  <a:cubicBezTo>
                    <a:pt x="270" y="12"/>
                    <a:pt x="252" y="13"/>
                    <a:pt x="227" y="13"/>
                  </a:cubicBezTo>
                  <a:cubicBezTo>
                    <a:pt x="213" y="13"/>
                    <a:pt x="197" y="13"/>
                    <a:pt x="181" y="12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64" y="12"/>
                    <a:pt x="146" y="12"/>
                    <a:pt x="129" y="12"/>
                  </a:cubicBezTo>
                  <a:cubicBezTo>
                    <a:pt x="92" y="12"/>
                    <a:pt x="45" y="13"/>
                    <a:pt x="3" y="25"/>
                  </a:cubicBezTo>
                  <a:cubicBezTo>
                    <a:pt x="1" y="25"/>
                    <a:pt x="0" y="28"/>
                    <a:pt x="0" y="29"/>
                  </a:cubicBezTo>
                  <a:cubicBezTo>
                    <a:pt x="0" y="30"/>
                    <a:pt x="3" y="31"/>
                    <a:pt x="5" y="31"/>
                  </a:cubicBezTo>
                  <a:cubicBezTo>
                    <a:pt x="5" y="31"/>
                    <a:pt x="6" y="31"/>
                    <a:pt x="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0" name="Freeform 33"/>
            <p:cNvSpPr>
              <a:spLocks/>
            </p:cNvSpPr>
            <p:nvPr userDrawn="1"/>
          </p:nvSpPr>
          <p:spPr bwMode="auto">
            <a:xfrm>
              <a:off x="-2279650" y="2651125"/>
              <a:ext cx="1500188" cy="239713"/>
            </a:xfrm>
            <a:custGeom>
              <a:avLst/>
              <a:gdLst>
                <a:gd name="T0" fmla="*/ 346 w 400"/>
                <a:gd name="T1" fmla="*/ 29 h 64"/>
                <a:gd name="T2" fmla="*/ 393 w 400"/>
                <a:gd name="T3" fmla="*/ 31 h 64"/>
                <a:gd name="T4" fmla="*/ 395 w 400"/>
                <a:gd name="T5" fmla="*/ 31 h 64"/>
                <a:gd name="T6" fmla="*/ 400 w 400"/>
                <a:gd name="T7" fmla="*/ 29 h 64"/>
                <a:gd name="T8" fmla="*/ 397 w 400"/>
                <a:gd name="T9" fmla="*/ 25 h 64"/>
                <a:gd name="T10" fmla="*/ 271 w 400"/>
                <a:gd name="T11" fmla="*/ 12 h 64"/>
                <a:gd name="T12" fmla="*/ 271 w 400"/>
                <a:gd name="T13" fmla="*/ 12 h 64"/>
                <a:gd name="T14" fmla="*/ 220 w 400"/>
                <a:gd name="T15" fmla="*/ 12 h 64"/>
                <a:gd name="T16" fmla="*/ 219 w 400"/>
                <a:gd name="T17" fmla="*/ 12 h 64"/>
                <a:gd name="T18" fmla="*/ 173 w 400"/>
                <a:gd name="T19" fmla="*/ 13 h 64"/>
                <a:gd name="T20" fmla="*/ 115 w 400"/>
                <a:gd name="T21" fmla="*/ 10 h 64"/>
                <a:gd name="T22" fmla="*/ 99 w 400"/>
                <a:gd name="T23" fmla="*/ 8 h 64"/>
                <a:gd name="T24" fmla="*/ 27 w 400"/>
                <a:gd name="T25" fmla="*/ 0 h 64"/>
                <a:gd name="T26" fmla="*/ 1 w 400"/>
                <a:gd name="T27" fmla="*/ 18 h 64"/>
                <a:gd name="T28" fmla="*/ 8 w 400"/>
                <a:gd name="T29" fmla="*/ 37 h 64"/>
                <a:gd name="T30" fmla="*/ 108 w 400"/>
                <a:gd name="T31" fmla="*/ 64 h 64"/>
                <a:gd name="T32" fmla="*/ 218 w 400"/>
                <a:gd name="T33" fmla="*/ 47 h 64"/>
                <a:gd name="T34" fmla="*/ 346 w 400"/>
                <a:gd name="T35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0" h="64">
                  <a:moveTo>
                    <a:pt x="346" y="29"/>
                  </a:moveTo>
                  <a:cubicBezTo>
                    <a:pt x="361" y="29"/>
                    <a:pt x="377" y="29"/>
                    <a:pt x="393" y="31"/>
                  </a:cubicBezTo>
                  <a:cubicBezTo>
                    <a:pt x="394" y="31"/>
                    <a:pt x="394" y="31"/>
                    <a:pt x="395" y="31"/>
                  </a:cubicBezTo>
                  <a:cubicBezTo>
                    <a:pt x="397" y="31"/>
                    <a:pt x="400" y="30"/>
                    <a:pt x="400" y="29"/>
                  </a:cubicBezTo>
                  <a:cubicBezTo>
                    <a:pt x="400" y="28"/>
                    <a:pt x="399" y="25"/>
                    <a:pt x="397" y="25"/>
                  </a:cubicBezTo>
                  <a:cubicBezTo>
                    <a:pt x="355" y="13"/>
                    <a:pt x="308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54" y="12"/>
                    <a:pt x="236" y="12"/>
                    <a:pt x="220" y="12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203" y="13"/>
                    <a:pt x="187" y="13"/>
                    <a:pt x="173" y="13"/>
                  </a:cubicBezTo>
                  <a:cubicBezTo>
                    <a:pt x="148" y="13"/>
                    <a:pt x="130" y="12"/>
                    <a:pt x="115" y="10"/>
                  </a:cubicBezTo>
                  <a:cubicBezTo>
                    <a:pt x="109" y="9"/>
                    <a:pt x="104" y="9"/>
                    <a:pt x="99" y="8"/>
                  </a:cubicBezTo>
                  <a:cubicBezTo>
                    <a:pt x="65" y="3"/>
                    <a:pt x="42" y="0"/>
                    <a:pt x="27" y="0"/>
                  </a:cubicBezTo>
                  <a:cubicBezTo>
                    <a:pt x="6" y="0"/>
                    <a:pt x="2" y="6"/>
                    <a:pt x="1" y="18"/>
                  </a:cubicBezTo>
                  <a:cubicBezTo>
                    <a:pt x="0" y="25"/>
                    <a:pt x="3" y="31"/>
                    <a:pt x="8" y="37"/>
                  </a:cubicBezTo>
                  <a:cubicBezTo>
                    <a:pt x="23" y="53"/>
                    <a:pt x="61" y="64"/>
                    <a:pt x="108" y="64"/>
                  </a:cubicBezTo>
                  <a:cubicBezTo>
                    <a:pt x="152" y="64"/>
                    <a:pt x="184" y="56"/>
                    <a:pt x="218" y="47"/>
                  </a:cubicBezTo>
                  <a:cubicBezTo>
                    <a:pt x="254" y="38"/>
                    <a:pt x="291" y="29"/>
                    <a:pt x="34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1" name="Freeform 34"/>
            <p:cNvSpPr>
              <a:spLocks/>
            </p:cNvSpPr>
            <p:nvPr userDrawn="1"/>
          </p:nvSpPr>
          <p:spPr bwMode="auto">
            <a:xfrm>
              <a:off x="3424238" y="3930650"/>
              <a:ext cx="1023938" cy="1368425"/>
            </a:xfrm>
            <a:custGeom>
              <a:avLst/>
              <a:gdLst>
                <a:gd name="T0" fmla="*/ 0 w 645"/>
                <a:gd name="T1" fmla="*/ 0 h 862"/>
                <a:gd name="T2" fmla="*/ 640 w 645"/>
                <a:gd name="T3" fmla="*/ 0 h 862"/>
                <a:gd name="T4" fmla="*/ 640 w 645"/>
                <a:gd name="T5" fmla="*/ 134 h 862"/>
                <a:gd name="T6" fmla="*/ 151 w 645"/>
                <a:gd name="T7" fmla="*/ 134 h 862"/>
                <a:gd name="T8" fmla="*/ 151 w 645"/>
                <a:gd name="T9" fmla="*/ 359 h 862"/>
                <a:gd name="T10" fmla="*/ 584 w 645"/>
                <a:gd name="T11" fmla="*/ 359 h 862"/>
                <a:gd name="T12" fmla="*/ 584 w 645"/>
                <a:gd name="T13" fmla="*/ 496 h 862"/>
                <a:gd name="T14" fmla="*/ 151 w 645"/>
                <a:gd name="T15" fmla="*/ 496 h 862"/>
                <a:gd name="T16" fmla="*/ 151 w 645"/>
                <a:gd name="T17" fmla="*/ 727 h 862"/>
                <a:gd name="T18" fmla="*/ 645 w 645"/>
                <a:gd name="T19" fmla="*/ 727 h 862"/>
                <a:gd name="T20" fmla="*/ 645 w 645"/>
                <a:gd name="T21" fmla="*/ 862 h 862"/>
                <a:gd name="T22" fmla="*/ 0 w 645"/>
                <a:gd name="T23" fmla="*/ 862 h 862"/>
                <a:gd name="T24" fmla="*/ 0 w 645"/>
                <a:gd name="T25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5" h="862">
                  <a:moveTo>
                    <a:pt x="0" y="0"/>
                  </a:moveTo>
                  <a:lnTo>
                    <a:pt x="640" y="0"/>
                  </a:lnTo>
                  <a:lnTo>
                    <a:pt x="640" y="134"/>
                  </a:lnTo>
                  <a:lnTo>
                    <a:pt x="151" y="134"/>
                  </a:lnTo>
                  <a:lnTo>
                    <a:pt x="151" y="359"/>
                  </a:lnTo>
                  <a:lnTo>
                    <a:pt x="584" y="359"/>
                  </a:lnTo>
                  <a:lnTo>
                    <a:pt x="584" y="496"/>
                  </a:lnTo>
                  <a:lnTo>
                    <a:pt x="151" y="496"/>
                  </a:lnTo>
                  <a:lnTo>
                    <a:pt x="151" y="727"/>
                  </a:lnTo>
                  <a:lnTo>
                    <a:pt x="645" y="727"/>
                  </a:lnTo>
                  <a:lnTo>
                    <a:pt x="645" y="862"/>
                  </a:lnTo>
                  <a:lnTo>
                    <a:pt x="0" y="86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2" name="Freeform 35"/>
            <p:cNvSpPr>
              <a:spLocks noEditPoints="1"/>
            </p:cNvSpPr>
            <p:nvPr userDrawn="1"/>
          </p:nvSpPr>
          <p:spPr bwMode="auto">
            <a:xfrm>
              <a:off x="4545013" y="3870325"/>
              <a:ext cx="1069975" cy="1450975"/>
            </a:xfrm>
            <a:custGeom>
              <a:avLst/>
              <a:gdLst>
                <a:gd name="T0" fmla="*/ 0 w 285"/>
                <a:gd name="T1" fmla="*/ 244 h 387"/>
                <a:gd name="T2" fmla="*/ 0 w 285"/>
                <a:gd name="T3" fmla="*/ 243 h 387"/>
                <a:gd name="T4" fmla="*/ 128 w 285"/>
                <a:gd name="T5" fmla="*/ 100 h 387"/>
                <a:gd name="T6" fmla="*/ 222 w 285"/>
                <a:gd name="T7" fmla="*/ 149 h 387"/>
                <a:gd name="T8" fmla="*/ 222 w 285"/>
                <a:gd name="T9" fmla="*/ 0 h 387"/>
                <a:gd name="T10" fmla="*/ 285 w 285"/>
                <a:gd name="T11" fmla="*/ 0 h 387"/>
                <a:gd name="T12" fmla="*/ 285 w 285"/>
                <a:gd name="T13" fmla="*/ 381 h 387"/>
                <a:gd name="T14" fmla="*/ 222 w 285"/>
                <a:gd name="T15" fmla="*/ 381 h 387"/>
                <a:gd name="T16" fmla="*/ 222 w 285"/>
                <a:gd name="T17" fmla="*/ 335 h 387"/>
                <a:gd name="T18" fmla="*/ 128 w 285"/>
                <a:gd name="T19" fmla="*/ 387 h 387"/>
                <a:gd name="T20" fmla="*/ 0 w 285"/>
                <a:gd name="T21" fmla="*/ 244 h 387"/>
                <a:gd name="T22" fmla="*/ 223 w 285"/>
                <a:gd name="T23" fmla="*/ 244 h 387"/>
                <a:gd name="T24" fmla="*/ 223 w 285"/>
                <a:gd name="T25" fmla="*/ 243 h 387"/>
                <a:gd name="T26" fmla="*/ 143 w 285"/>
                <a:gd name="T27" fmla="*/ 155 h 387"/>
                <a:gd name="T28" fmla="*/ 64 w 285"/>
                <a:gd name="T29" fmla="*/ 243 h 387"/>
                <a:gd name="T30" fmla="*/ 64 w 285"/>
                <a:gd name="T31" fmla="*/ 244 h 387"/>
                <a:gd name="T32" fmla="*/ 143 w 285"/>
                <a:gd name="T33" fmla="*/ 332 h 387"/>
                <a:gd name="T34" fmla="*/ 223 w 285"/>
                <a:gd name="T35" fmla="*/ 24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5" h="387">
                  <a:moveTo>
                    <a:pt x="0" y="244"/>
                  </a:moveTo>
                  <a:cubicBezTo>
                    <a:pt x="0" y="243"/>
                    <a:pt x="0" y="243"/>
                    <a:pt x="0" y="243"/>
                  </a:cubicBezTo>
                  <a:cubicBezTo>
                    <a:pt x="0" y="152"/>
                    <a:pt x="62" y="100"/>
                    <a:pt x="128" y="100"/>
                  </a:cubicBezTo>
                  <a:cubicBezTo>
                    <a:pt x="173" y="100"/>
                    <a:pt x="202" y="122"/>
                    <a:pt x="222" y="149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02" y="364"/>
                    <a:pt x="173" y="387"/>
                    <a:pt x="128" y="387"/>
                  </a:cubicBezTo>
                  <a:cubicBezTo>
                    <a:pt x="63" y="387"/>
                    <a:pt x="0" y="335"/>
                    <a:pt x="0" y="244"/>
                  </a:cubicBezTo>
                  <a:close/>
                  <a:moveTo>
                    <a:pt x="223" y="244"/>
                  </a:moveTo>
                  <a:cubicBezTo>
                    <a:pt x="223" y="243"/>
                    <a:pt x="223" y="243"/>
                    <a:pt x="223" y="243"/>
                  </a:cubicBezTo>
                  <a:cubicBezTo>
                    <a:pt x="223" y="190"/>
                    <a:pt x="185" y="155"/>
                    <a:pt x="143" y="155"/>
                  </a:cubicBezTo>
                  <a:cubicBezTo>
                    <a:pt x="100" y="155"/>
                    <a:pt x="64" y="188"/>
                    <a:pt x="64" y="243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97"/>
                    <a:pt x="100" y="332"/>
                    <a:pt x="143" y="332"/>
                  </a:cubicBezTo>
                  <a:cubicBezTo>
                    <a:pt x="185" y="332"/>
                    <a:pt x="223" y="297"/>
                    <a:pt x="223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3" name="Freeform 36"/>
            <p:cNvSpPr>
              <a:spLocks/>
            </p:cNvSpPr>
            <p:nvPr userDrawn="1"/>
          </p:nvSpPr>
          <p:spPr bwMode="auto">
            <a:xfrm>
              <a:off x="5813425" y="4267200"/>
              <a:ext cx="925513" cy="1054100"/>
            </a:xfrm>
            <a:custGeom>
              <a:avLst/>
              <a:gdLst>
                <a:gd name="T0" fmla="*/ 0 w 247"/>
                <a:gd name="T1" fmla="*/ 175 h 281"/>
                <a:gd name="T2" fmla="*/ 0 w 247"/>
                <a:gd name="T3" fmla="*/ 0 h 281"/>
                <a:gd name="T4" fmla="*/ 63 w 247"/>
                <a:gd name="T5" fmla="*/ 0 h 281"/>
                <a:gd name="T6" fmla="*/ 63 w 247"/>
                <a:gd name="T7" fmla="*/ 156 h 281"/>
                <a:gd name="T8" fmla="*/ 122 w 247"/>
                <a:gd name="T9" fmla="*/ 223 h 281"/>
                <a:gd name="T10" fmla="*/ 184 w 247"/>
                <a:gd name="T11" fmla="*/ 155 h 281"/>
                <a:gd name="T12" fmla="*/ 184 w 247"/>
                <a:gd name="T13" fmla="*/ 0 h 281"/>
                <a:gd name="T14" fmla="*/ 247 w 247"/>
                <a:gd name="T15" fmla="*/ 0 h 281"/>
                <a:gd name="T16" fmla="*/ 247 w 247"/>
                <a:gd name="T17" fmla="*/ 275 h 281"/>
                <a:gd name="T18" fmla="*/ 184 w 247"/>
                <a:gd name="T19" fmla="*/ 275 h 281"/>
                <a:gd name="T20" fmla="*/ 184 w 247"/>
                <a:gd name="T21" fmla="*/ 232 h 281"/>
                <a:gd name="T22" fmla="*/ 98 w 247"/>
                <a:gd name="T23" fmla="*/ 281 h 281"/>
                <a:gd name="T24" fmla="*/ 0 w 247"/>
                <a:gd name="T25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281">
                  <a:moveTo>
                    <a:pt x="0" y="1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3" y="199"/>
                    <a:pt x="84" y="223"/>
                    <a:pt x="122" y="223"/>
                  </a:cubicBezTo>
                  <a:cubicBezTo>
                    <a:pt x="158" y="223"/>
                    <a:pt x="184" y="198"/>
                    <a:pt x="184" y="155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275"/>
                    <a:pt x="247" y="275"/>
                    <a:pt x="247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4" y="232"/>
                    <a:pt x="184" y="232"/>
                    <a:pt x="184" y="232"/>
                  </a:cubicBezTo>
                  <a:cubicBezTo>
                    <a:pt x="166" y="258"/>
                    <a:pt x="140" y="281"/>
                    <a:pt x="98" y="281"/>
                  </a:cubicBezTo>
                  <a:cubicBezTo>
                    <a:pt x="36" y="281"/>
                    <a:pt x="0" y="239"/>
                    <a:pt x="0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4" name="Freeform 37"/>
            <p:cNvSpPr>
              <a:spLocks/>
            </p:cNvSpPr>
            <p:nvPr userDrawn="1"/>
          </p:nvSpPr>
          <p:spPr bwMode="auto">
            <a:xfrm>
              <a:off x="6889750" y="4244975"/>
              <a:ext cx="955675" cy="1076325"/>
            </a:xfrm>
            <a:custGeom>
              <a:avLst/>
              <a:gdLst>
                <a:gd name="T0" fmla="*/ 0 w 255"/>
                <a:gd name="T1" fmla="*/ 145 h 287"/>
                <a:gd name="T2" fmla="*/ 0 w 255"/>
                <a:gd name="T3" fmla="*/ 144 h 287"/>
                <a:gd name="T4" fmla="*/ 144 w 255"/>
                <a:gd name="T5" fmla="*/ 0 h 287"/>
                <a:gd name="T6" fmla="*/ 254 w 255"/>
                <a:gd name="T7" fmla="*/ 47 h 287"/>
                <a:gd name="T8" fmla="*/ 214 w 255"/>
                <a:gd name="T9" fmla="*/ 90 h 287"/>
                <a:gd name="T10" fmla="*/ 143 w 255"/>
                <a:gd name="T11" fmla="*/ 55 h 287"/>
                <a:gd name="T12" fmla="*/ 64 w 255"/>
                <a:gd name="T13" fmla="*/ 143 h 287"/>
                <a:gd name="T14" fmla="*/ 64 w 255"/>
                <a:gd name="T15" fmla="*/ 144 h 287"/>
                <a:gd name="T16" fmla="*/ 146 w 255"/>
                <a:gd name="T17" fmla="*/ 232 h 287"/>
                <a:gd name="T18" fmla="*/ 217 w 255"/>
                <a:gd name="T19" fmla="*/ 198 h 287"/>
                <a:gd name="T20" fmla="*/ 255 w 255"/>
                <a:gd name="T21" fmla="*/ 236 h 287"/>
                <a:gd name="T22" fmla="*/ 143 w 255"/>
                <a:gd name="T23" fmla="*/ 287 h 287"/>
                <a:gd name="T24" fmla="*/ 0 w 255"/>
                <a:gd name="T25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6"/>
                    <a:pt x="61" y="0"/>
                    <a:pt x="144" y="0"/>
                  </a:cubicBezTo>
                  <a:cubicBezTo>
                    <a:pt x="195" y="0"/>
                    <a:pt x="228" y="19"/>
                    <a:pt x="254" y="47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195" y="69"/>
                    <a:pt x="175" y="55"/>
                    <a:pt x="143" y="55"/>
                  </a:cubicBezTo>
                  <a:cubicBezTo>
                    <a:pt x="97" y="55"/>
                    <a:pt x="64" y="95"/>
                    <a:pt x="64" y="143"/>
                  </a:cubicBezTo>
                  <a:cubicBezTo>
                    <a:pt x="64" y="144"/>
                    <a:pt x="64" y="144"/>
                    <a:pt x="64" y="144"/>
                  </a:cubicBezTo>
                  <a:cubicBezTo>
                    <a:pt x="64" y="193"/>
                    <a:pt x="97" y="232"/>
                    <a:pt x="146" y="232"/>
                  </a:cubicBezTo>
                  <a:cubicBezTo>
                    <a:pt x="176" y="232"/>
                    <a:pt x="198" y="219"/>
                    <a:pt x="217" y="198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28" y="266"/>
                    <a:pt x="197" y="287"/>
                    <a:pt x="143" y="287"/>
                  </a:cubicBezTo>
                  <a:cubicBezTo>
                    <a:pt x="61" y="287"/>
                    <a:pt x="0" y="223"/>
                    <a:pt x="0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5" name="Freeform 38"/>
            <p:cNvSpPr>
              <a:spLocks noEditPoints="1"/>
            </p:cNvSpPr>
            <p:nvPr userDrawn="1"/>
          </p:nvSpPr>
          <p:spPr bwMode="auto">
            <a:xfrm>
              <a:off x="7908925" y="4252913"/>
              <a:ext cx="930275" cy="1068388"/>
            </a:xfrm>
            <a:custGeom>
              <a:avLst/>
              <a:gdLst>
                <a:gd name="T0" fmla="*/ 0 w 248"/>
                <a:gd name="T1" fmla="*/ 200 h 285"/>
                <a:gd name="T2" fmla="*/ 0 w 248"/>
                <a:gd name="T3" fmla="*/ 199 h 285"/>
                <a:gd name="T4" fmla="*/ 113 w 248"/>
                <a:gd name="T5" fmla="*/ 110 h 285"/>
                <a:gd name="T6" fmla="*/ 187 w 248"/>
                <a:gd name="T7" fmla="*/ 122 h 285"/>
                <a:gd name="T8" fmla="*/ 187 w 248"/>
                <a:gd name="T9" fmla="*/ 115 h 285"/>
                <a:gd name="T10" fmla="*/ 119 w 248"/>
                <a:gd name="T11" fmla="*/ 55 h 285"/>
                <a:gd name="T12" fmla="*/ 40 w 248"/>
                <a:gd name="T13" fmla="*/ 72 h 285"/>
                <a:gd name="T14" fmla="*/ 24 w 248"/>
                <a:gd name="T15" fmla="*/ 23 h 285"/>
                <a:gd name="T16" fmla="*/ 127 w 248"/>
                <a:gd name="T17" fmla="*/ 0 h 285"/>
                <a:gd name="T18" fmla="*/ 219 w 248"/>
                <a:gd name="T19" fmla="*/ 31 h 285"/>
                <a:gd name="T20" fmla="*/ 248 w 248"/>
                <a:gd name="T21" fmla="*/ 116 h 285"/>
                <a:gd name="T22" fmla="*/ 248 w 248"/>
                <a:gd name="T23" fmla="*/ 279 h 285"/>
                <a:gd name="T24" fmla="*/ 187 w 248"/>
                <a:gd name="T25" fmla="*/ 279 h 285"/>
                <a:gd name="T26" fmla="*/ 187 w 248"/>
                <a:gd name="T27" fmla="*/ 245 h 285"/>
                <a:gd name="T28" fmla="*/ 97 w 248"/>
                <a:gd name="T29" fmla="*/ 285 h 285"/>
                <a:gd name="T30" fmla="*/ 0 w 248"/>
                <a:gd name="T31" fmla="*/ 200 h 285"/>
                <a:gd name="T32" fmla="*/ 188 w 248"/>
                <a:gd name="T33" fmla="*/ 180 h 285"/>
                <a:gd name="T34" fmla="*/ 188 w 248"/>
                <a:gd name="T35" fmla="*/ 161 h 285"/>
                <a:gd name="T36" fmla="*/ 126 w 248"/>
                <a:gd name="T37" fmla="*/ 150 h 285"/>
                <a:gd name="T38" fmla="*/ 61 w 248"/>
                <a:gd name="T39" fmla="*/ 196 h 285"/>
                <a:gd name="T40" fmla="*/ 61 w 248"/>
                <a:gd name="T41" fmla="*/ 197 h 285"/>
                <a:gd name="T42" fmla="*/ 115 w 248"/>
                <a:gd name="T43" fmla="*/ 239 h 285"/>
                <a:gd name="T44" fmla="*/ 188 w 248"/>
                <a:gd name="T45" fmla="*/ 18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85">
                  <a:moveTo>
                    <a:pt x="0" y="200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139"/>
                    <a:pt x="46" y="110"/>
                    <a:pt x="113" y="110"/>
                  </a:cubicBezTo>
                  <a:cubicBezTo>
                    <a:pt x="144" y="110"/>
                    <a:pt x="166" y="115"/>
                    <a:pt x="187" y="122"/>
                  </a:cubicBezTo>
                  <a:cubicBezTo>
                    <a:pt x="187" y="115"/>
                    <a:pt x="187" y="115"/>
                    <a:pt x="187" y="115"/>
                  </a:cubicBezTo>
                  <a:cubicBezTo>
                    <a:pt x="187" y="76"/>
                    <a:pt x="163" y="55"/>
                    <a:pt x="119" y="55"/>
                  </a:cubicBezTo>
                  <a:cubicBezTo>
                    <a:pt x="88" y="55"/>
                    <a:pt x="65" y="62"/>
                    <a:pt x="40" y="7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54" y="9"/>
                    <a:pt x="84" y="0"/>
                    <a:pt x="127" y="0"/>
                  </a:cubicBezTo>
                  <a:cubicBezTo>
                    <a:pt x="169" y="0"/>
                    <a:pt x="199" y="11"/>
                    <a:pt x="219" y="31"/>
                  </a:cubicBezTo>
                  <a:cubicBezTo>
                    <a:pt x="239" y="51"/>
                    <a:pt x="248" y="80"/>
                    <a:pt x="248" y="116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7" y="245"/>
                    <a:pt x="187" y="245"/>
                    <a:pt x="187" y="245"/>
                  </a:cubicBezTo>
                  <a:cubicBezTo>
                    <a:pt x="168" y="267"/>
                    <a:pt x="139" y="285"/>
                    <a:pt x="97" y="285"/>
                  </a:cubicBezTo>
                  <a:cubicBezTo>
                    <a:pt x="46" y="285"/>
                    <a:pt x="0" y="255"/>
                    <a:pt x="0" y="200"/>
                  </a:cubicBezTo>
                  <a:close/>
                  <a:moveTo>
                    <a:pt x="188" y="180"/>
                  </a:moveTo>
                  <a:cubicBezTo>
                    <a:pt x="188" y="161"/>
                    <a:pt x="188" y="161"/>
                    <a:pt x="188" y="161"/>
                  </a:cubicBezTo>
                  <a:cubicBezTo>
                    <a:pt x="172" y="155"/>
                    <a:pt x="151" y="150"/>
                    <a:pt x="126" y="150"/>
                  </a:cubicBezTo>
                  <a:cubicBezTo>
                    <a:pt x="85" y="150"/>
                    <a:pt x="61" y="167"/>
                    <a:pt x="61" y="196"/>
                  </a:cubicBezTo>
                  <a:cubicBezTo>
                    <a:pt x="61" y="197"/>
                    <a:pt x="61" y="197"/>
                    <a:pt x="61" y="197"/>
                  </a:cubicBezTo>
                  <a:cubicBezTo>
                    <a:pt x="61" y="224"/>
                    <a:pt x="85" y="239"/>
                    <a:pt x="115" y="239"/>
                  </a:cubicBezTo>
                  <a:cubicBezTo>
                    <a:pt x="157" y="239"/>
                    <a:pt x="188" y="215"/>
                    <a:pt x="18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6" name="Freeform 39"/>
            <p:cNvSpPr>
              <a:spLocks/>
            </p:cNvSpPr>
            <p:nvPr userDrawn="1"/>
          </p:nvSpPr>
          <p:spPr bwMode="auto">
            <a:xfrm>
              <a:off x="8943975" y="3983038"/>
              <a:ext cx="646113" cy="1335088"/>
            </a:xfrm>
            <a:custGeom>
              <a:avLst/>
              <a:gdLst>
                <a:gd name="T0" fmla="*/ 35 w 172"/>
                <a:gd name="T1" fmla="*/ 275 h 356"/>
                <a:gd name="T2" fmla="*/ 35 w 172"/>
                <a:gd name="T3" fmla="*/ 130 h 356"/>
                <a:gd name="T4" fmla="*/ 0 w 172"/>
                <a:gd name="T5" fmla="*/ 130 h 356"/>
                <a:gd name="T6" fmla="*/ 0 w 172"/>
                <a:gd name="T7" fmla="*/ 76 h 356"/>
                <a:gd name="T8" fmla="*/ 35 w 172"/>
                <a:gd name="T9" fmla="*/ 76 h 356"/>
                <a:gd name="T10" fmla="*/ 35 w 172"/>
                <a:gd name="T11" fmla="*/ 0 h 356"/>
                <a:gd name="T12" fmla="*/ 98 w 172"/>
                <a:gd name="T13" fmla="*/ 0 h 356"/>
                <a:gd name="T14" fmla="*/ 98 w 172"/>
                <a:gd name="T15" fmla="*/ 76 h 356"/>
                <a:gd name="T16" fmla="*/ 172 w 172"/>
                <a:gd name="T17" fmla="*/ 76 h 356"/>
                <a:gd name="T18" fmla="*/ 172 w 172"/>
                <a:gd name="T19" fmla="*/ 130 h 356"/>
                <a:gd name="T20" fmla="*/ 98 w 172"/>
                <a:gd name="T21" fmla="*/ 130 h 356"/>
                <a:gd name="T22" fmla="*/ 98 w 172"/>
                <a:gd name="T23" fmla="*/ 265 h 356"/>
                <a:gd name="T24" fmla="*/ 132 w 172"/>
                <a:gd name="T25" fmla="*/ 299 h 356"/>
                <a:gd name="T26" fmla="*/ 171 w 172"/>
                <a:gd name="T27" fmla="*/ 290 h 356"/>
                <a:gd name="T28" fmla="*/ 171 w 172"/>
                <a:gd name="T29" fmla="*/ 342 h 356"/>
                <a:gd name="T30" fmla="*/ 114 w 172"/>
                <a:gd name="T31" fmla="*/ 356 h 356"/>
                <a:gd name="T32" fmla="*/ 35 w 172"/>
                <a:gd name="T33" fmla="*/ 27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2" h="356">
                  <a:moveTo>
                    <a:pt x="35" y="275"/>
                  </a:moveTo>
                  <a:cubicBezTo>
                    <a:pt x="35" y="130"/>
                    <a:pt x="35" y="130"/>
                    <a:pt x="35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130"/>
                    <a:pt x="172" y="130"/>
                    <a:pt x="172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265"/>
                    <a:pt x="98" y="265"/>
                    <a:pt x="98" y="265"/>
                  </a:cubicBezTo>
                  <a:cubicBezTo>
                    <a:pt x="98" y="290"/>
                    <a:pt x="110" y="299"/>
                    <a:pt x="132" y="299"/>
                  </a:cubicBezTo>
                  <a:cubicBezTo>
                    <a:pt x="146" y="299"/>
                    <a:pt x="158" y="296"/>
                    <a:pt x="171" y="290"/>
                  </a:cubicBezTo>
                  <a:cubicBezTo>
                    <a:pt x="171" y="342"/>
                    <a:pt x="171" y="342"/>
                    <a:pt x="171" y="342"/>
                  </a:cubicBezTo>
                  <a:cubicBezTo>
                    <a:pt x="155" y="351"/>
                    <a:pt x="138" y="356"/>
                    <a:pt x="114" y="356"/>
                  </a:cubicBezTo>
                  <a:cubicBezTo>
                    <a:pt x="68" y="356"/>
                    <a:pt x="35" y="335"/>
                    <a:pt x="35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7" name="Freeform 40"/>
            <p:cNvSpPr>
              <a:spLocks noEditPoints="1"/>
            </p:cNvSpPr>
            <p:nvPr userDrawn="1"/>
          </p:nvSpPr>
          <p:spPr bwMode="auto">
            <a:xfrm>
              <a:off x="9747250" y="3884613"/>
              <a:ext cx="255588" cy="1414463"/>
            </a:xfrm>
            <a:custGeom>
              <a:avLst/>
              <a:gdLst>
                <a:gd name="T0" fmla="*/ 0 w 161"/>
                <a:gd name="T1" fmla="*/ 0 h 891"/>
                <a:gd name="T2" fmla="*/ 161 w 161"/>
                <a:gd name="T3" fmla="*/ 0 h 891"/>
                <a:gd name="T4" fmla="*/ 161 w 161"/>
                <a:gd name="T5" fmla="*/ 142 h 891"/>
                <a:gd name="T6" fmla="*/ 0 w 161"/>
                <a:gd name="T7" fmla="*/ 142 h 891"/>
                <a:gd name="T8" fmla="*/ 0 w 161"/>
                <a:gd name="T9" fmla="*/ 0 h 891"/>
                <a:gd name="T10" fmla="*/ 5 w 161"/>
                <a:gd name="T11" fmla="*/ 241 h 891"/>
                <a:gd name="T12" fmla="*/ 154 w 161"/>
                <a:gd name="T13" fmla="*/ 241 h 891"/>
                <a:gd name="T14" fmla="*/ 154 w 161"/>
                <a:gd name="T15" fmla="*/ 891 h 891"/>
                <a:gd name="T16" fmla="*/ 5 w 161"/>
                <a:gd name="T17" fmla="*/ 891 h 891"/>
                <a:gd name="T18" fmla="*/ 5 w 161"/>
                <a:gd name="T19" fmla="*/ 24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1">
                  <a:moveTo>
                    <a:pt x="0" y="0"/>
                  </a:moveTo>
                  <a:lnTo>
                    <a:pt x="161" y="0"/>
                  </a:lnTo>
                  <a:lnTo>
                    <a:pt x="161" y="142"/>
                  </a:lnTo>
                  <a:lnTo>
                    <a:pt x="0" y="142"/>
                  </a:lnTo>
                  <a:lnTo>
                    <a:pt x="0" y="0"/>
                  </a:lnTo>
                  <a:close/>
                  <a:moveTo>
                    <a:pt x="5" y="241"/>
                  </a:moveTo>
                  <a:lnTo>
                    <a:pt x="154" y="241"/>
                  </a:lnTo>
                  <a:lnTo>
                    <a:pt x="154" y="891"/>
                  </a:lnTo>
                  <a:lnTo>
                    <a:pt x="5" y="891"/>
                  </a:ln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8" name="Freeform 41"/>
            <p:cNvSpPr>
              <a:spLocks noEditPoints="1"/>
            </p:cNvSpPr>
            <p:nvPr userDrawn="1"/>
          </p:nvSpPr>
          <p:spPr bwMode="auto">
            <a:xfrm>
              <a:off x="10155238" y="4244975"/>
              <a:ext cx="1103313" cy="1076325"/>
            </a:xfrm>
            <a:custGeom>
              <a:avLst/>
              <a:gdLst>
                <a:gd name="T0" fmla="*/ 0 w 294"/>
                <a:gd name="T1" fmla="*/ 145 h 287"/>
                <a:gd name="T2" fmla="*/ 0 w 294"/>
                <a:gd name="T3" fmla="*/ 144 h 287"/>
                <a:gd name="T4" fmla="*/ 147 w 294"/>
                <a:gd name="T5" fmla="*/ 0 h 287"/>
                <a:gd name="T6" fmla="*/ 294 w 294"/>
                <a:gd name="T7" fmla="*/ 143 h 287"/>
                <a:gd name="T8" fmla="*/ 294 w 294"/>
                <a:gd name="T9" fmla="*/ 144 h 287"/>
                <a:gd name="T10" fmla="*/ 146 w 294"/>
                <a:gd name="T11" fmla="*/ 287 h 287"/>
                <a:gd name="T12" fmla="*/ 0 w 294"/>
                <a:gd name="T13" fmla="*/ 145 h 287"/>
                <a:gd name="T14" fmla="*/ 231 w 294"/>
                <a:gd name="T15" fmla="*/ 145 h 287"/>
                <a:gd name="T16" fmla="*/ 231 w 294"/>
                <a:gd name="T17" fmla="*/ 144 h 287"/>
                <a:gd name="T18" fmla="*/ 146 w 294"/>
                <a:gd name="T19" fmla="*/ 55 h 287"/>
                <a:gd name="T20" fmla="*/ 63 w 294"/>
                <a:gd name="T21" fmla="*/ 143 h 287"/>
                <a:gd name="T22" fmla="*/ 63 w 294"/>
                <a:gd name="T23" fmla="*/ 144 h 287"/>
                <a:gd name="T24" fmla="*/ 147 w 294"/>
                <a:gd name="T25" fmla="*/ 232 h 287"/>
                <a:gd name="T26" fmla="*/ 231 w 294"/>
                <a:gd name="T27" fmla="*/ 145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287">
                  <a:moveTo>
                    <a:pt x="0" y="145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3" y="0"/>
                    <a:pt x="147" y="0"/>
                  </a:cubicBezTo>
                  <a:cubicBezTo>
                    <a:pt x="232" y="0"/>
                    <a:pt x="294" y="64"/>
                    <a:pt x="294" y="143"/>
                  </a:cubicBezTo>
                  <a:cubicBezTo>
                    <a:pt x="294" y="144"/>
                    <a:pt x="294" y="144"/>
                    <a:pt x="294" y="144"/>
                  </a:cubicBezTo>
                  <a:cubicBezTo>
                    <a:pt x="294" y="222"/>
                    <a:pt x="231" y="287"/>
                    <a:pt x="146" y="287"/>
                  </a:cubicBezTo>
                  <a:cubicBezTo>
                    <a:pt x="62" y="287"/>
                    <a:pt x="0" y="223"/>
                    <a:pt x="0" y="145"/>
                  </a:cubicBezTo>
                  <a:close/>
                  <a:moveTo>
                    <a:pt x="231" y="145"/>
                  </a:moveTo>
                  <a:cubicBezTo>
                    <a:pt x="231" y="144"/>
                    <a:pt x="231" y="144"/>
                    <a:pt x="231" y="144"/>
                  </a:cubicBezTo>
                  <a:cubicBezTo>
                    <a:pt x="231" y="95"/>
                    <a:pt x="196" y="55"/>
                    <a:pt x="146" y="55"/>
                  </a:cubicBezTo>
                  <a:cubicBezTo>
                    <a:pt x="96" y="55"/>
                    <a:pt x="63" y="95"/>
                    <a:pt x="63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92"/>
                    <a:pt x="98" y="232"/>
                    <a:pt x="147" y="232"/>
                  </a:cubicBezTo>
                  <a:cubicBezTo>
                    <a:pt x="198" y="232"/>
                    <a:pt x="231" y="192"/>
                    <a:pt x="231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89" name="Freeform 42"/>
            <p:cNvSpPr>
              <a:spLocks/>
            </p:cNvSpPr>
            <p:nvPr userDrawn="1"/>
          </p:nvSpPr>
          <p:spPr bwMode="auto">
            <a:xfrm>
              <a:off x="11407775" y="4244975"/>
              <a:ext cx="930275" cy="1054100"/>
            </a:xfrm>
            <a:custGeom>
              <a:avLst/>
              <a:gdLst>
                <a:gd name="T0" fmla="*/ 0 w 248"/>
                <a:gd name="T1" fmla="*/ 6 h 281"/>
                <a:gd name="T2" fmla="*/ 64 w 248"/>
                <a:gd name="T3" fmla="*/ 6 h 281"/>
                <a:gd name="T4" fmla="*/ 64 w 248"/>
                <a:gd name="T5" fmla="*/ 48 h 281"/>
                <a:gd name="T6" fmla="*/ 150 w 248"/>
                <a:gd name="T7" fmla="*/ 0 h 281"/>
                <a:gd name="T8" fmla="*/ 248 w 248"/>
                <a:gd name="T9" fmla="*/ 105 h 281"/>
                <a:gd name="T10" fmla="*/ 248 w 248"/>
                <a:gd name="T11" fmla="*/ 281 h 281"/>
                <a:gd name="T12" fmla="*/ 184 w 248"/>
                <a:gd name="T13" fmla="*/ 281 h 281"/>
                <a:gd name="T14" fmla="*/ 184 w 248"/>
                <a:gd name="T15" fmla="*/ 125 h 281"/>
                <a:gd name="T16" fmla="*/ 126 w 248"/>
                <a:gd name="T17" fmla="*/ 57 h 281"/>
                <a:gd name="T18" fmla="*/ 64 w 248"/>
                <a:gd name="T19" fmla="*/ 126 h 281"/>
                <a:gd name="T20" fmla="*/ 64 w 248"/>
                <a:gd name="T21" fmla="*/ 281 h 281"/>
                <a:gd name="T22" fmla="*/ 0 w 248"/>
                <a:gd name="T23" fmla="*/ 281 h 281"/>
                <a:gd name="T24" fmla="*/ 0 w 248"/>
                <a:gd name="T25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281">
                  <a:moveTo>
                    <a:pt x="0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81" y="22"/>
                    <a:pt x="107" y="0"/>
                    <a:pt x="150" y="0"/>
                  </a:cubicBezTo>
                  <a:cubicBezTo>
                    <a:pt x="212" y="0"/>
                    <a:pt x="248" y="42"/>
                    <a:pt x="248" y="105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184" y="281"/>
                    <a:pt x="184" y="281"/>
                    <a:pt x="184" y="281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82"/>
                    <a:pt x="163" y="57"/>
                    <a:pt x="126" y="57"/>
                  </a:cubicBezTo>
                  <a:cubicBezTo>
                    <a:pt x="89" y="57"/>
                    <a:pt x="64" y="83"/>
                    <a:pt x="64" y="126"/>
                  </a:cubicBezTo>
                  <a:cubicBezTo>
                    <a:pt x="64" y="281"/>
                    <a:pt x="64" y="281"/>
                    <a:pt x="64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25847-D856-436D-80D7-68382BD3BFF9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© NSW Department of Education | Document title</a:t>
            </a:r>
            <a:endParaRPr lang="en-AU" dirty="0">
              <a:latin typeface="+mj-l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D755C9-3689-40D6-BF31-A2E23E708225}" type="slidenum">
              <a:rPr lang="en-AU" smtClean="0"/>
              <a:t>‹#›</a:t>
            </a:fld>
            <a:r>
              <a:rPr lang="en-AU" dirty="0"/>
              <a:t>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08517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" name="Picture 44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140"/>
          <a:stretch/>
        </p:blipFill>
        <p:spPr bwMode="auto">
          <a:xfrm>
            <a:off x="0" y="2875"/>
            <a:ext cx="12192000" cy="685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3" name="Rectangle 104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25968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3763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7382" y="2084851"/>
            <a:ext cx="7104789" cy="1632181"/>
          </a:xfrm>
        </p:spPr>
        <p:txBody>
          <a:bodyPr lIns="0" anchor="b"/>
          <a:lstStyle>
            <a:lvl1pPr>
              <a:defRPr sz="3733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7382" y="3982211"/>
            <a:ext cx="7104789" cy="1174981"/>
          </a:xfrm>
          <a:solidFill>
            <a:srgbClr val="FFFFFF"/>
          </a:solidFill>
        </p:spPr>
        <p:txBody>
          <a:bodyPr lIns="90000" anchor="ctr">
            <a:normAutofit/>
          </a:bodyPr>
          <a:lstStyle>
            <a:lvl1pPr marL="0" indent="0" algn="l">
              <a:spcBef>
                <a:spcPts val="0"/>
              </a:spcBef>
              <a:buNone/>
              <a:defRPr sz="2667">
                <a:solidFill>
                  <a:schemeClr val="accent1"/>
                </a:solidFill>
                <a:latin typeface="+mn-lt"/>
              </a:defRPr>
            </a:lvl1pPr>
            <a:lvl2pPr marL="609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AU" dirty="0"/>
          </a:p>
        </p:txBody>
      </p:sp>
      <p:sp>
        <p:nvSpPr>
          <p:cNvPr id="39" name="Date Placeholder 3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46E0129-E971-414F-9C50-133062B87FFC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40" name="Footer Placeholder 39"/>
          <p:cNvSpPr>
            <a:spLocks noGrp="1"/>
          </p:cNvSpPr>
          <p:nvPr>
            <p:ph type="ftr" sz="quarter" idx="11"/>
          </p:nvPr>
        </p:nvSpPr>
        <p:spPr>
          <a:xfrm>
            <a:off x="527383" y="6332835"/>
            <a:ext cx="364840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© NSW Department of Education | </a:t>
            </a:r>
            <a:r>
              <a:rPr lang="en-US" dirty="0"/>
              <a:t>Document title</a:t>
            </a:r>
            <a:endParaRPr lang="en-AU" dirty="0"/>
          </a:p>
        </p:txBody>
      </p:sp>
      <p:sp>
        <p:nvSpPr>
          <p:cNvPr id="41" name="Slide Number Placeholder 4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  <p:cxnSp>
        <p:nvCxnSpPr>
          <p:cNvPr id="91" name="Straight Connector 90"/>
          <p:cNvCxnSpPr/>
          <p:nvPr userDrawn="1"/>
        </p:nvCxnSpPr>
        <p:spPr>
          <a:xfrm>
            <a:off x="527381" y="1316765"/>
            <a:ext cx="1104122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>
            <a:endCxn id="93" idx="2"/>
          </p:cNvCxnSpPr>
          <p:nvPr userDrawn="1"/>
        </p:nvCxnSpPr>
        <p:spPr>
          <a:xfrm>
            <a:off x="527382" y="3750836"/>
            <a:ext cx="768085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Oval 92"/>
          <p:cNvSpPr/>
          <p:nvPr userDrawn="1"/>
        </p:nvSpPr>
        <p:spPr>
          <a:xfrm>
            <a:off x="8208235" y="3174772"/>
            <a:ext cx="1152128" cy="1152128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3763" dirty="0"/>
          </a:p>
        </p:txBody>
      </p:sp>
      <p:grpSp>
        <p:nvGrpSpPr>
          <p:cNvPr id="95" name="Group 94"/>
          <p:cNvGrpSpPr/>
          <p:nvPr userDrawn="1"/>
        </p:nvGrpSpPr>
        <p:grpSpPr>
          <a:xfrm>
            <a:off x="8522473" y="3582056"/>
            <a:ext cx="523651" cy="337560"/>
            <a:chOff x="5503863" y="2646363"/>
            <a:chExt cx="576262" cy="371476"/>
          </a:xfrm>
          <a:solidFill>
            <a:schemeClr val="bg1"/>
          </a:solidFill>
        </p:grpSpPr>
        <p:sp>
          <p:nvSpPr>
            <p:cNvPr id="96" name="Freeform 5"/>
            <p:cNvSpPr>
              <a:spLocks noEditPoints="1"/>
            </p:cNvSpPr>
            <p:nvPr/>
          </p:nvSpPr>
          <p:spPr bwMode="auto">
            <a:xfrm>
              <a:off x="5562600" y="2646363"/>
              <a:ext cx="457200" cy="323850"/>
            </a:xfrm>
            <a:custGeom>
              <a:avLst/>
              <a:gdLst>
                <a:gd name="T0" fmla="*/ 3 w 122"/>
                <a:gd name="T1" fmla="*/ 84 h 86"/>
                <a:gd name="T2" fmla="*/ 119 w 122"/>
                <a:gd name="T3" fmla="*/ 84 h 86"/>
                <a:gd name="T4" fmla="*/ 119 w 122"/>
                <a:gd name="T5" fmla="*/ 10 h 86"/>
                <a:gd name="T6" fmla="*/ 113 w 122"/>
                <a:gd name="T7" fmla="*/ 3 h 86"/>
                <a:gd name="T8" fmla="*/ 9 w 122"/>
                <a:gd name="T9" fmla="*/ 3 h 86"/>
                <a:gd name="T10" fmla="*/ 3 w 122"/>
                <a:gd name="T11" fmla="*/ 10 h 86"/>
                <a:gd name="T12" fmla="*/ 3 w 122"/>
                <a:gd name="T13" fmla="*/ 84 h 86"/>
                <a:gd name="T14" fmla="*/ 120 w 122"/>
                <a:gd name="T15" fmla="*/ 86 h 86"/>
                <a:gd name="T16" fmla="*/ 1 w 122"/>
                <a:gd name="T17" fmla="*/ 86 h 86"/>
                <a:gd name="T18" fmla="*/ 0 w 122"/>
                <a:gd name="T19" fmla="*/ 85 h 86"/>
                <a:gd name="T20" fmla="*/ 0 w 122"/>
                <a:gd name="T21" fmla="*/ 10 h 86"/>
                <a:gd name="T22" fmla="*/ 9 w 122"/>
                <a:gd name="T23" fmla="*/ 0 h 86"/>
                <a:gd name="T24" fmla="*/ 113 w 122"/>
                <a:gd name="T25" fmla="*/ 0 h 86"/>
                <a:gd name="T26" fmla="*/ 122 w 122"/>
                <a:gd name="T27" fmla="*/ 10 h 86"/>
                <a:gd name="T28" fmla="*/ 122 w 122"/>
                <a:gd name="T29" fmla="*/ 85 h 86"/>
                <a:gd name="T30" fmla="*/ 120 w 122"/>
                <a:gd name="T3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" h="86">
                  <a:moveTo>
                    <a:pt x="3" y="84"/>
                  </a:moveTo>
                  <a:cubicBezTo>
                    <a:pt x="119" y="84"/>
                    <a:pt x="119" y="84"/>
                    <a:pt x="119" y="84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6"/>
                    <a:pt x="116" y="3"/>
                    <a:pt x="113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5" y="3"/>
                    <a:pt x="3" y="6"/>
                    <a:pt x="3" y="10"/>
                  </a:cubicBezTo>
                  <a:lnTo>
                    <a:pt x="3" y="84"/>
                  </a:lnTo>
                  <a:close/>
                  <a:moveTo>
                    <a:pt x="120" y="86"/>
                  </a:moveTo>
                  <a:cubicBezTo>
                    <a:pt x="1" y="86"/>
                    <a:pt x="1" y="86"/>
                    <a:pt x="1" y="86"/>
                  </a:cubicBezTo>
                  <a:cubicBezTo>
                    <a:pt x="1" y="86"/>
                    <a:pt x="0" y="86"/>
                    <a:pt x="0" y="85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9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8" y="0"/>
                    <a:pt x="122" y="5"/>
                    <a:pt x="122" y="10"/>
                  </a:cubicBezTo>
                  <a:cubicBezTo>
                    <a:pt x="122" y="85"/>
                    <a:pt x="122" y="85"/>
                    <a:pt x="122" y="85"/>
                  </a:cubicBezTo>
                  <a:cubicBezTo>
                    <a:pt x="122" y="86"/>
                    <a:pt x="121" y="86"/>
                    <a:pt x="120" y="8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97" name="Freeform 6"/>
            <p:cNvSpPr>
              <a:spLocks noEditPoints="1"/>
            </p:cNvSpPr>
            <p:nvPr/>
          </p:nvSpPr>
          <p:spPr bwMode="auto">
            <a:xfrm>
              <a:off x="5503863" y="2962276"/>
              <a:ext cx="576262" cy="55563"/>
            </a:xfrm>
            <a:custGeom>
              <a:avLst/>
              <a:gdLst>
                <a:gd name="T0" fmla="*/ 4 w 154"/>
                <a:gd name="T1" fmla="*/ 2 h 15"/>
                <a:gd name="T2" fmla="*/ 3 w 154"/>
                <a:gd name="T3" fmla="*/ 3 h 15"/>
                <a:gd name="T4" fmla="*/ 3 w 154"/>
                <a:gd name="T5" fmla="*/ 5 h 15"/>
                <a:gd name="T6" fmla="*/ 12 w 154"/>
                <a:gd name="T7" fmla="*/ 12 h 15"/>
                <a:gd name="T8" fmla="*/ 142 w 154"/>
                <a:gd name="T9" fmla="*/ 12 h 15"/>
                <a:gd name="T10" fmla="*/ 151 w 154"/>
                <a:gd name="T11" fmla="*/ 5 h 15"/>
                <a:gd name="T12" fmla="*/ 151 w 154"/>
                <a:gd name="T13" fmla="*/ 3 h 15"/>
                <a:gd name="T14" fmla="*/ 149 w 154"/>
                <a:gd name="T15" fmla="*/ 2 h 15"/>
                <a:gd name="T16" fmla="*/ 4 w 154"/>
                <a:gd name="T17" fmla="*/ 2 h 15"/>
                <a:gd name="T18" fmla="*/ 142 w 154"/>
                <a:gd name="T19" fmla="*/ 15 h 15"/>
                <a:gd name="T20" fmla="*/ 12 w 154"/>
                <a:gd name="T21" fmla="*/ 15 h 15"/>
                <a:gd name="T22" fmla="*/ 0 w 154"/>
                <a:gd name="T23" fmla="*/ 6 h 15"/>
                <a:gd name="T24" fmla="*/ 1 w 154"/>
                <a:gd name="T25" fmla="*/ 2 h 15"/>
                <a:gd name="T26" fmla="*/ 4 w 154"/>
                <a:gd name="T27" fmla="*/ 0 h 15"/>
                <a:gd name="T28" fmla="*/ 149 w 154"/>
                <a:gd name="T29" fmla="*/ 0 h 15"/>
                <a:gd name="T30" fmla="*/ 153 w 154"/>
                <a:gd name="T31" fmla="*/ 2 h 15"/>
                <a:gd name="T32" fmla="*/ 153 w 154"/>
                <a:gd name="T33" fmla="*/ 6 h 15"/>
                <a:gd name="T34" fmla="*/ 142 w 154"/>
                <a:gd name="T3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4" h="15">
                  <a:moveTo>
                    <a:pt x="4" y="2"/>
                  </a:moveTo>
                  <a:cubicBezTo>
                    <a:pt x="4" y="2"/>
                    <a:pt x="3" y="3"/>
                    <a:pt x="3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4" y="10"/>
                    <a:pt x="8" y="12"/>
                    <a:pt x="12" y="12"/>
                  </a:cubicBezTo>
                  <a:cubicBezTo>
                    <a:pt x="142" y="12"/>
                    <a:pt x="142" y="12"/>
                    <a:pt x="142" y="12"/>
                  </a:cubicBezTo>
                  <a:cubicBezTo>
                    <a:pt x="146" y="12"/>
                    <a:pt x="149" y="10"/>
                    <a:pt x="151" y="5"/>
                  </a:cubicBezTo>
                  <a:cubicBezTo>
                    <a:pt x="151" y="4"/>
                    <a:pt x="151" y="4"/>
                    <a:pt x="151" y="3"/>
                  </a:cubicBezTo>
                  <a:cubicBezTo>
                    <a:pt x="150" y="3"/>
                    <a:pt x="150" y="2"/>
                    <a:pt x="149" y="2"/>
                  </a:cubicBezTo>
                  <a:lnTo>
                    <a:pt x="4" y="2"/>
                  </a:lnTo>
                  <a:close/>
                  <a:moveTo>
                    <a:pt x="142" y="15"/>
                  </a:moveTo>
                  <a:cubicBezTo>
                    <a:pt x="12" y="15"/>
                    <a:pt x="12" y="15"/>
                    <a:pt x="12" y="15"/>
                  </a:cubicBezTo>
                  <a:cubicBezTo>
                    <a:pt x="7" y="15"/>
                    <a:pt x="2" y="11"/>
                    <a:pt x="0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1" y="0"/>
                    <a:pt x="152" y="0"/>
                    <a:pt x="153" y="2"/>
                  </a:cubicBezTo>
                  <a:cubicBezTo>
                    <a:pt x="154" y="3"/>
                    <a:pt x="154" y="5"/>
                    <a:pt x="153" y="6"/>
                  </a:cubicBezTo>
                  <a:cubicBezTo>
                    <a:pt x="152" y="11"/>
                    <a:pt x="147" y="15"/>
                    <a:pt x="142" y="1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98" name="Freeform 7"/>
            <p:cNvSpPr>
              <a:spLocks noEditPoints="1"/>
            </p:cNvSpPr>
            <p:nvPr/>
          </p:nvSpPr>
          <p:spPr bwMode="auto">
            <a:xfrm>
              <a:off x="5597525" y="2687638"/>
              <a:ext cx="385762" cy="244475"/>
            </a:xfrm>
            <a:custGeom>
              <a:avLst/>
              <a:gdLst>
                <a:gd name="T0" fmla="*/ 3 w 103"/>
                <a:gd name="T1" fmla="*/ 62 h 65"/>
                <a:gd name="T2" fmla="*/ 101 w 103"/>
                <a:gd name="T3" fmla="*/ 62 h 65"/>
                <a:gd name="T4" fmla="*/ 101 w 103"/>
                <a:gd name="T5" fmla="*/ 6 h 65"/>
                <a:gd name="T6" fmla="*/ 97 w 103"/>
                <a:gd name="T7" fmla="*/ 3 h 65"/>
                <a:gd name="T8" fmla="*/ 6 w 103"/>
                <a:gd name="T9" fmla="*/ 3 h 65"/>
                <a:gd name="T10" fmla="*/ 3 w 103"/>
                <a:gd name="T11" fmla="*/ 6 h 65"/>
                <a:gd name="T12" fmla="*/ 3 w 103"/>
                <a:gd name="T13" fmla="*/ 62 h 65"/>
                <a:gd name="T14" fmla="*/ 102 w 103"/>
                <a:gd name="T15" fmla="*/ 65 h 65"/>
                <a:gd name="T16" fmla="*/ 2 w 103"/>
                <a:gd name="T17" fmla="*/ 65 h 65"/>
                <a:gd name="T18" fmla="*/ 0 w 103"/>
                <a:gd name="T19" fmla="*/ 64 h 65"/>
                <a:gd name="T20" fmla="*/ 0 w 103"/>
                <a:gd name="T21" fmla="*/ 6 h 65"/>
                <a:gd name="T22" fmla="*/ 6 w 103"/>
                <a:gd name="T23" fmla="*/ 0 h 65"/>
                <a:gd name="T24" fmla="*/ 97 w 103"/>
                <a:gd name="T25" fmla="*/ 0 h 65"/>
                <a:gd name="T26" fmla="*/ 103 w 103"/>
                <a:gd name="T27" fmla="*/ 6 h 65"/>
                <a:gd name="T28" fmla="*/ 103 w 103"/>
                <a:gd name="T29" fmla="*/ 64 h 65"/>
                <a:gd name="T30" fmla="*/ 102 w 103"/>
                <a:gd name="T3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3" h="65">
                  <a:moveTo>
                    <a:pt x="3" y="62"/>
                  </a:moveTo>
                  <a:cubicBezTo>
                    <a:pt x="101" y="62"/>
                    <a:pt x="101" y="62"/>
                    <a:pt x="101" y="62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101" y="4"/>
                    <a:pt x="99" y="3"/>
                    <a:pt x="97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3" y="4"/>
                    <a:pt x="3" y="6"/>
                  </a:cubicBezTo>
                  <a:lnTo>
                    <a:pt x="3" y="62"/>
                  </a:lnTo>
                  <a:close/>
                  <a:moveTo>
                    <a:pt x="102" y="65"/>
                  </a:moveTo>
                  <a:cubicBezTo>
                    <a:pt x="2" y="65"/>
                    <a:pt x="2" y="65"/>
                    <a:pt x="2" y="65"/>
                  </a:cubicBezTo>
                  <a:cubicBezTo>
                    <a:pt x="1" y="65"/>
                    <a:pt x="0" y="64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1" y="0"/>
                    <a:pt x="103" y="3"/>
                    <a:pt x="103" y="6"/>
                  </a:cubicBezTo>
                  <a:cubicBezTo>
                    <a:pt x="103" y="64"/>
                    <a:pt x="103" y="64"/>
                    <a:pt x="103" y="64"/>
                  </a:cubicBezTo>
                  <a:cubicBezTo>
                    <a:pt x="103" y="64"/>
                    <a:pt x="103" y="65"/>
                    <a:pt x="102" y="6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  <p:sp>
          <p:nvSpPr>
            <p:cNvPr id="99" name="Freeform 8"/>
            <p:cNvSpPr>
              <a:spLocks noEditPoints="1"/>
            </p:cNvSpPr>
            <p:nvPr/>
          </p:nvSpPr>
          <p:spPr bwMode="auto">
            <a:xfrm>
              <a:off x="5738813" y="2763838"/>
              <a:ext cx="101600" cy="96838"/>
            </a:xfrm>
            <a:custGeom>
              <a:avLst/>
              <a:gdLst>
                <a:gd name="T0" fmla="*/ 13 w 27"/>
                <a:gd name="T1" fmla="*/ 15 h 26"/>
                <a:gd name="T2" fmla="*/ 14 w 27"/>
                <a:gd name="T3" fmla="*/ 15 h 26"/>
                <a:gd name="T4" fmla="*/ 22 w 27"/>
                <a:gd name="T5" fmla="*/ 23 h 26"/>
                <a:gd name="T6" fmla="*/ 24 w 27"/>
                <a:gd name="T7" fmla="*/ 21 h 26"/>
                <a:gd name="T8" fmla="*/ 16 w 27"/>
                <a:gd name="T9" fmla="*/ 13 h 26"/>
                <a:gd name="T10" fmla="*/ 16 w 27"/>
                <a:gd name="T11" fmla="*/ 12 h 26"/>
                <a:gd name="T12" fmla="*/ 16 w 27"/>
                <a:gd name="T13" fmla="*/ 11 h 26"/>
                <a:gd name="T14" fmla="*/ 19 w 27"/>
                <a:gd name="T15" fmla="*/ 7 h 26"/>
                <a:gd name="T16" fmla="*/ 4 w 27"/>
                <a:gd name="T17" fmla="*/ 3 h 26"/>
                <a:gd name="T18" fmla="*/ 8 w 27"/>
                <a:gd name="T19" fmla="*/ 19 h 26"/>
                <a:gd name="T20" fmla="*/ 12 w 27"/>
                <a:gd name="T21" fmla="*/ 15 h 26"/>
                <a:gd name="T22" fmla="*/ 13 w 27"/>
                <a:gd name="T23" fmla="*/ 15 h 26"/>
                <a:gd name="T24" fmla="*/ 22 w 27"/>
                <a:gd name="T25" fmla="*/ 26 h 26"/>
                <a:gd name="T26" fmla="*/ 21 w 27"/>
                <a:gd name="T27" fmla="*/ 26 h 26"/>
                <a:gd name="T28" fmla="*/ 13 w 27"/>
                <a:gd name="T29" fmla="*/ 18 h 26"/>
                <a:gd name="T30" fmla="*/ 9 w 27"/>
                <a:gd name="T31" fmla="*/ 22 h 26"/>
                <a:gd name="T32" fmla="*/ 7 w 27"/>
                <a:gd name="T33" fmla="*/ 22 h 26"/>
                <a:gd name="T34" fmla="*/ 6 w 27"/>
                <a:gd name="T35" fmla="*/ 21 h 26"/>
                <a:gd name="T36" fmla="*/ 0 w 27"/>
                <a:gd name="T37" fmla="*/ 1 h 26"/>
                <a:gd name="T38" fmla="*/ 1 w 27"/>
                <a:gd name="T39" fmla="*/ 0 h 26"/>
                <a:gd name="T40" fmla="*/ 2 w 27"/>
                <a:gd name="T41" fmla="*/ 0 h 26"/>
                <a:gd name="T42" fmla="*/ 22 w 27"/>
                <a:gd name="T43" fmla="*/ 6 h 26"/>
                <a:gd name="T44" fmla="*/ 23 w 27"/>
                <a:gd name="T45" fmla="*/ 7 h 26"/>
                <a:gd name="T46" fmla="*/ 23 w 27"/>
                <a:gd name="T47" fmla="*/ 8 h 26"/>
                <a:gd name="T48" fmla="*/ 19 w 27"/>
                <a:gd name="T49" fmla="*/ 12 h 26"/>
                <a:gd name="T50" fmla="*/ 27 w 27"/>
                <a:gd name="T51" fmla="*/ 20 h 26"/>
                <a:gd name="T52" fmla="*/ 27 w 27"/>
                <a:gd name="T53" fmla="*/ 21 h 26"/>
                <a:gd name="T54" fmla="*/ 27 w 27"/>
                <a:gd name="T55" fmla="*/ 22 h 26"/>
                <a:gd name="T56" fmla="*/ 22 w 27"/>
                <a:gd name="T57" fmla="*/ 26 h 26"/>
                <a:gd name="T58" fmla="*/ 22 w 27"/>
                <a:gd name="T5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" h="26">
                  <a:moveTo>
                    <a:pt x="13" y="15"/>
                  </a:moveTo>
                  <a:cubicBezTo>
                    <a:pt x="13" y="15"/>
                    <a:pt x="13" y="15"/>
                    <a:pt x="14" y="15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3" y="15"/>
                  </a:cubicBezTo>
                  <a:moveTo>
                    <a:pt x="22" y="26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8" y="22"/>
                    <a:pt x="7" y="22"/>
                  </a:cubicBezTo>
                  <a:cubicBezTo>
                    <a:pt x="7" y="22"/>
                    <a:pt x="7" y="22"/>
                    <a:pt x="6" y="2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3" y="6"/>
                    <a:pt x="23" y="7"/>
                  </a:cubicBezTo>
                  <a:cubicBezTo>
                    <a:pt x="23" y="7"/>
                    <a:pt x="23" y="7"/>
                    <a:pt x="23" y="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0"/>
                    <a:pt x="27" y="20"/>
                    <a:pt x="27" y="21"/>
                  </a:cubicBezTo>
                  <a:cubicBezTo>
                    <a:pt x="27" y="21"/>
                    <a:pt x="27" y="21"/>
                    <a:pt x="27" y="22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3763" dirty="0"/>
            </a:p>
          </p:txBody>
        </p:sp>
      </p:grpSp>
    </p:spTree>
    <p:extLst>
      <p:ext uri="{BB962C8B-B14F-4D97-AF65-F5344CB8AC3E}">
        <p14:creationId xmlns:p14="http://schemas.microsoft.com/office/powerpoint/2010/main" val="40917590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44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14" r="32686" b="10140"/>
          <a:stretch/>
        </p:blipFill>
        <p:spPr bwMode="auto">
          <a:xfrm>
            <a:off x="8400256" y="2875"/>
            <a:ext cx="3791744" cy="685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8400256" y="0"/>
            <a:ext cx="3791744" cy="6858000"/>
          </a:xfrm>
          <a:prstGeom prst="rect">
            <a:avLst/>
          </a:prstGeom>
          <a:solidFill>
            <a:srgbClr val="00ABC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3763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400256" y="1316765"/>
            <a:ext cx="307234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381" y="356659"/>
            <a:ext cx="7488832" cy="94611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381" y="1600202"/>
            <a:ext cx="7488832" cy="4709119"/>
          </a:xfrm>
        </p:spPr>
        <p:txBody>
          <a:bodyPr>
            <a:normAutofit/>
          </a:bodyPr>
          <a:lstStyle>
            <a:lvl1pPr>
              <a:defRPr sz="1467"/>
            </a:lvl1pPr>
            <a:lvl2pPr>
              <a:defRPr sz="1333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D4658A-9A5A-4940-B74C-A75CDDC9FA23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© NSW Department of Education | Document title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 dirty="0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536314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44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14" r="32686" b="10140"/>
          <a:stretch/>
        </p:blipFill>
        <p:spPr bwMode="auto">
          <a:xfrm>
            <a:off x="8400256" y="2875"/>
            <a:ext cx="3791744" cy="685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8400256" y="0"/>
            <a:ext cx="3791744" cy="6858000"/>
          </a:xfrm>
          <a:prstGeom prst="rect">
            <a:avLst/>
          </a:prstGeom>
          <a:solidFill>
            <a:srgbClr val="00ABC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3763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400256" y="1316765"/>
            <a:ext cx="307234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381" y="356659"/>
            <a:ext cx="7488832" cy="94611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88288" y="1600202"/>
            <a:ext cx="2880320" cy="4709119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  <a:lvl2pPr>
              <a:defRPr sz="1333">
                <a:solidFill>
                  <a:schemeClr val="bg1"/>
                </a:solidFill>
              </a:defRPr>
            </a:lvl2pPr>
            <a:lvl3pPr>
              <a:defRPr sz="1333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7648F4-225E-421C-84AF-637B2A3FD680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© NSW Department of Education | Document title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 dirty="0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488590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"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381" y="412078"/>
            <a:ext cx="11041227" cy="480053"/>
          </a:xfrm>
        </p:spPr>
        <p:txBody>
          <a:bodyPr tIns="0" bIns="0"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381" y="1600202"/>
            <a:ext cx="11041227" cy="4709119"/>
          </a:xfrm>
        </p:spPr>
        <p:txBody>
          <a:bodyPr>
            <a:normAutofit/>
          </a:bodyPr>
          <a:lstStyle>
            <a:lvl1pPr>
              <a:defRPr sz="1467"/>
            </a:lvl1pPr>
            <a:lvl2pPr>
              <a:defRPr sz="1333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CE74F-C2F5-4075-B958-FFE3174EE3A5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© NSW Department of Education | Document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 dirty="0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27381" y="905016"/>
            <a:ext cx="11041227" cy="384043"/>
          </a:xfrm>
        </p:spPr>
        <p:txBody>
          <a:bodyPr tIns="0" rIns="0" bIns="0">
            <a:noAutofit/>
          </a:bodyPr>
          <a:lstStyle>
            <a:lvl1pPr>
              <a:defRPr sz="2133">
                <a:solidFill>
                  <a:schemeClr val="accent5">
                    <a:lumMod val="75000"/>
                  </a:schemeClr>
                </a:solidFill>
              </a:defRPr>
            </a:lvl1pPr>
            <a:lvl2pPr>
              <a:defRPr sz="1333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AU" dirty="0"/>
              <a:t>Sub-title</a:t>
            </a:r>
          </a:p>
        </p:txBody>
      </p:sp>
    </p:spTree>
    <p:extLst>
      <p:ext uri="{BB962C8B-B14F-4D97-AF65-F5344CB8AC3E}">
        <p14:creationId xmlns:p14="http://schemas.microsoft.com/office/powerpoint/2010/main" val="16396160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3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381" y="356659"/>
            <a:ext cx="11041227" cy="9461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381" y="1600202"/>
            <a:ext cx="11041227" cy="4709119"/>
          </a:xfrm>
        </p:spPr>
        <p:txBody>
          <a:bodyPr>
            <a:normAutofit/>
          </a:bodyPr>
          <a:lstStyle>
            <a:lvl1pPr>
              <a:defRPr sz="1467">
                <a:solidFill>
                  <a:schemeClr val="bg1"/>
                </a:solidFill>
              </a:defRPr>
            </a:lvl1pPr>
            <a:lvl2pPr>
              <a:defRPr sz="1333">
                <a:solidFill>
                  <a:schemeClr val="bg1"/>
                </a:solidFill>
              </a:defRPr>
            </a:lvl2pPr>
            <a:lvl3pPr>
              <a:defRPr sz="1333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65FADBB-9A6F-49B6-A11A-7E10E7916C9D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© NSW Department of Education | </a:t>
            </a:r>
            <a:r>
              <a:rPr lang="en-US" dirty="0"/>
              <a:t>Document title</a:t>
            </a:r>
            <a:endParaRPr lang="en-AU" dirty="0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27381" y="1316765"/>
            <a:ext cx="1104122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49246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" name="think-cell Slide" r:id="rId20" imgW="624" imgH="623" progId="TCLayout.ActiveDocument.1">
                  <p:embed/>
                </p:oleObj>
              </mc:Choice>
              <mc:Fallback>
                <p:oleObj name="think-cell Slide" r:id="rId20" imgW="624" imgH="6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7381" y="356659"/>
            <a:ext cx="11041227" cy="946116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381" y="1600202"/>
            <a:ext cx="11041227" cy="4709119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360363" y="6332835"/>
            <a:ext cx="2208245" cy="365125"/>
          </a:xfrm>
          <a:prstGeom prst="rect">
            <a:avLst/>
          </a:prstGeom>
        </p:spPr>
        <p:txBody>
          <a:bodyPr rIns="0" anchor="b"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fld id="{D3F25847-D856-436D-80D7-68382BD3BFF9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383" y="6332835"/>
            <a:ext cx="3648407" cy="365125"/>
          </a:xfrm>
          <a:prstGeom prst="rect">
            <a:avLst/>
          </a:prstGeom>
        </p:spPr>
        <p:txBody>
          <a:bodyPr lIns="0" anchor="b"/>
          <a:lstStyle>
            <a:lvl1pPr algn="l">
              <a:defRPr sz="933">
                <a:solidFill>
                  <a:schemeClr val="tx2"/>
                </a:solidFill>
              </a:defRPr>
            </a:lvl1pPr>
          </a:lstStyle>
          <a:p>
            <a:r>
              <a:rPr lang="en-AU" dirty="0"/>
              <a:t>© NSW Department of Education | Workforce transition</a:t>
            </a:r>
            <a:endParaRPr lang="en-AU" dirty="0">
              <a:latin typeface="+mj-lt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73600" y="6332835"/>
            <a:ext cx="2844800" cy="365125"/>
          </a:xfrm>
          <a:prstGeom prst="rect">
            <a:avLst/>
          </a:prstGeom>
        </p:spPr>
        <p:txBody>
          <a:bodyPr anchor="b"/>
          <a:lstStyle>
            <a:lvl1pPr algn="ctr">
              <a:defRPr sz="933">
                <a:solidFill>
                  <a:schemeClr val="tx2"/>
                </a:solidFill>
              </a:defRPr>
            </a:lvl1pPr>
          </a:lstStyle>
          <a:p>
            <a:r>
              <a:rPr lang="en-AU" dirty="0"/>
              <a:t>Page </a:t>
            </a:r>
            <a:fld id="{4A2A1DA9-8CAF-4BCA-B496-545B076AED2D}" type="slidenum">
              <a:rPr lang="en-AU" smtClean="0"/>
              <a:pPr/>
              <a:t>‹#›</a:t>
            </a:fld>
            <a:endParaRPr lang="en-AU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27381" y="1316765"/>
            <a:ext cx="11041227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417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/>
  <p:txStyles>
    <p:titleStyle>
      <a:lvl1pPr algn="l" defTabSz="1219194" rtl="0" eaLnBrk="1" latinLnBrk="0" hangingPunct="1">
        <a:spcBef>
          <a:spcPct val="0"/>
        </a:spcBef>
        <a:buNone/>
        <a:defRPr sz="32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94" rtl="0" eaLnBrk="1" latinLnBrk="0" hangingPunct="1">
        <a:spcBef>
          <a:spcPts val="1600"/>
        </a:spcBef>
        <a:buFont typeface="Arial" panose="020B0604020202020204" pitchFamily="34" charset="0"/>
        <a:buNone/>
        <a:defRPr sz="1467" kern="120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l" defTabSz="1219194" rtl="0" eaLnBrk="1" latinLnBrk="0" hangingPunct="1">
        <a:spcBef>
          <a:spcPts val="800"/>
        </a:spcBef>
        <a:buFont typeface="Arial" panose="020B0604020202020204" pitchFamily="34" charset="0"/>
        <a:buNone/>
        <a:defRPr sz="1333" kern="1200">
          <a:solidFill>
            <a:schemeClr val="tx2"/>
          </a:solidFill>
          <a:latin typeface="+mn-lt"/>
          <a:ea typeface="+mn-ea"/>
          <a:cs typeface="+mn-cs"/>
        </a:defRPr>
      </a:lvl2pPr>
      <a:lvl3pPr marL="241299" indent="-241299" algn="l" defTabSz="1219194" rtl="0" eaLnBrk="1" latinLnBrk="0" hangingPunct="1">
        <a:spcBef>
          <a:spcPts val="800"/>
        </a:spcBef>
        <a:buFont typeface="Wingdings" panose="05000000000000000000" pitchFamily="2" charset="2"/>
        <a:buChar char="§"/>
        <a:defRPr sz="1333" kern="1200">
          <a:solidFill>
            <a:schemeClr val="tx2"/>
          </a:solidFill>
          <a:latin typeface="+mn-lt"/>
          <a:ea typeface="+mn-ea"/>
          <a:cs typeface="+mn-cs"/>
        </a:defRPr>
      </a:lvl3pPr>
      <a:lvl4pPr marL="476248" indent="-234949" algn="l" defTabSz="1219194" rtl="0" eaLnBrk="1" latinLnBrk="0" hangingPunct="1">
        <a:spcBef>
          <a:spcPct val="20000"/>
        </a:spcBef>
        <a:buFont typeface="Arial" panose="020B0604020202020204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717547" indent="-241299" algn="l" defTabSz="1219194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3352783" indent="-304799" algn="l" defTabSz="121919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80" indent="-304799" algn="l" defTabSz="121919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978" indent="-304799" algn="l" defTabSz="121919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574" indent="-304799" algn="l" defTabSz="121919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97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94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90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88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85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82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179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775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AU" sz="3200" dirty="0"/>
              <a:t>‘One finance’ project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AU" dirty="0"/>
              <a:t>Voice of customer</a:t>
            </a:r>
          </a:p>
        </p:txBody>
      </p:sp>
      <p:sp>
        <p:nvSpPr>
          <p:cNvPr id="21" name="Date Placeholder 2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064"/>
            <a:fld id="{3475BD88-51CE-4789-A223-114F773B9CA2}" type="datetime4">
              <a:rPr lang="en-AU">
                <a:solidFill>
                  <a:prstClr val="white"/>
                </a:solidFill>
                <a:latin typeface="Montserrat Light"/>
              </a:rPr>
              <a:pPr defTabSz="1219064"/>
              <a:t>28 November 2018</a:t>
            </a:fld>
            <a:endParaRPr lang="en-AU" dirty="0">
              <a:solidFill>
                <a:prstClr val="white"/>
              </a:solidFill>
              <a:latin typeface="Montserrat Light"/>
            </a:endParaRPr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1"/>
          </p:nvPr>
        </p:nvSpPr>
        <p:spPr>
          <a:xfrm>
            <a:off x="527383" y="6332835"/>
            <a:ext cx="4532814" cy="365125"/>
          </a:xfrm>
        </p:spPr>
        <p:txBody>
          <a:bodyPr/>
          <a:lstStyle/>
          <a:p>
            <a:pPr defTabSz="1219064"/>
            <a:r>
              <a:rPr lang="en-AU" dirty="0">
                <a:solidFill>
                  <a:prstClr val="white"/>
                </a:solidFill>
                <a:latin typeface="Montserrat Light"/>
              </a:rPr>
              <a:t>© NSW Department of Education</a:t>
            </a:r>
            <a:endParaRPr lang="en-AU" dirty="0">
              <a:solidFill>
                <a:srgbClr val="FF0000"/>
              </a:solidFill>
              <a:latin typeface="Montserrat Light"/>
            </a:endParaRPr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064"/>
            <a:r>
              <a:rPr lang="en-AU" dirty="0">
                <a:solidFill>
                  <a:prstClr val="white"/>
                </a:solidFill>
                <a:latin typeface="Montserrat Light"/>
              </a:rPr>
              <a:t>Page </a:t>
            </a:r>
            <a:fld id="{4A2A1DA9-8CAF-4BCA-B496-545B076AED2D}" type="slidenum">
              <a:rPr lang="en-AU">
                <a:solidFill>
                  <a:prstClr val="white"/>
                </a:solidFill>
                <a:latin typeface="Montserrat Light"/>
              </a:rPr>
              <a:pPr defTabSz="1219064"/>
              <a:t>1</a:t>
            </a:fld>
            <a:endParaRPr lang="en-AU" dirty="0">
              <a:solidFill>
                <a:prstClr val="white"/>
              </a:solidFill>
              <a:latin typeface="Montserrat Light"/>
            </a:endParaRPr>
          </a:p>
        </p:txBody>
      </p:sp>
      <p:sp>
        <p:nvSpPr>
          <p:cNvPr id="7" name="Title 9"/>
          <p:cNvSpPr txBox="1">
            <a:spLocks/>
          </p:cNvSpPr>
          <p:nvPr/>
        </p:nvSpPr>
        <p:spPr>
          <a:xfrm>
            <a:off x="527381" y="6651491"/>
            <a:ext cx="4536059" cy="206509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 defTabSz="1219194" rtl="0" eaLnBrk="1" latinLnBrk="0" hangingPunct="1">
              <a:spcBef>
                <a:spcPct val="0"/>
              </a:spcBef>
              <a:buNone/>
              <a:defRPr sz="3733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sz="1000" dirty="0">
                <a:solidFill>
                  <a:srgbClr val="FF0000"/>
                </a:solidFill>
              </a:rPr>
              <a:t>Confidential, not for distribution, subject to consultation</a:t>
            </a:r>
          </a:p>
        </p:txBody>
      </p:sp>
    </p:spTree>
    <p:extLst>
      <p:ext uri="{BB962C8B-B14F-4D97-AF65-F5344CB8AC3E}">
        <p14:creationId xmlns:p14="http://schemas.microsoft.com/office/powerpoint/2010/main" val="2920117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inance vision and purpo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064"/>
            <a:fld id="{486CE74F-C2F5-4075-B958-FFE3174EE3A5}" type="datetime4">
              <a:rPr lang="en-AU">
                <a:solidFill>
                  <a:srgbClr val="425968"/>
                </a:solidFill>
                <a:latin typeface="Montserrat Light"/>
              </a:rPr>
              <a:pPr defTabSz="1219064"/>
              <a:t>28 November 2018</a:t>
            </a:fld>
            <a:endParaRPr lang="en-AU" dirty="0">
              <a:solidFill>
                <a:srgbClr val="425968"/>
              </a:solidFill>
              <a:latin typeface="Montserrat Light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064"/>
            <a:r>
              <a:rPr lang="en-AU" dirty="0">
                <a:solidFill>
                  <a:srgbClr val="425968"/>
                </a:solidFill>
                <a:latin typeface="Montserrat Light"/>
              </a:rPr>
              <a:t>© NSW Department of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064"/>
            <a:r>
              <a:rPr lang="en-AU" dirty="0">
                <a:solidFill>
                  <a:srgbClr val="425968"/>
                </a:solidFill>
                <a:latin typeface="Montserrat Light"/>
              </a:rPr>
              <a:t>Page </a:t>
            </a:r>
            <a:fld id="{4A2A1DA9-8CAF-4BCA-B496-545B076AED2D}" type="slidenum">
              <a:rPr lang="en-AU">
                <a:solidFill>
                  <a:srgbClr val="425968"/>
                </a:solidFill>
                <a:latin typeface="Montserrat Light"/>
              </a:rPr>
              <a:pPr defTabSz="1219064"/>
              <a:t>2</a:t>
            </a:fld>
            <a:endParaRPr lang="en-AU" dirty="0">
              <a:solidFill>
                <a:srgbClr val="425968"/>
              </a:solidFill>
              <a:latin typeface="Montserrat Light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13" name="Rectangle 12"/>
          <p:cNvSpPr/>
          <p:nvPr/>
        </p:nvSpPr>
        <p:spPr>
          <a:xfrm>
            <a:off x="599712" y="1379887"/>
            <a:ext cx="10992576" cy="4596131"/>
          </a:xfrm>
          <a:prstGeom prst="rect">
            <a:avLst/>
          </a:prstGeom>
        </p:spPr>
        <p:txBody>
          <a:bodyPr vert="horz" lIns="0" tIns="60960" rIns="121920" bIns="60960" rtlCol="0">
            <a:noAutofit/>
          </a:bodyPr>
          <a:lstStyle/>
          <a:p>
            <a:pPr lvl="1" defTabSz="1219064">
              <a:spcBef>
                <a:spcPts val="1600"/>
              </a:spcBef>
            </a:pPr>
            <a:endParaRPr lang="en-AU" sz="1200" dirty="0">
              <a:solidFill>
                <a:srgbClr val="425968"/>
              </a:solidFill>
              <a:latin typeface="Montserrat"/>
            </a:endParaRPr>
          </a:p>
        </p:txBody>
      </p:sp>
      <p:sp>
        <p:nvSpPr>
          <p:cNvPr id="17" name="Title 9"/>
          <p:cNvSpPr txBox="1">
            <a:spLocks/>
          </p:cNvSpPr>
          <p:nvPr/>
        </p:nvSpPr>
        <p:spPr>
          <a:xfrm>
            <a:off x="527381" y="6651491"/>
            <a:ext cx="4536059" cy="206509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 defTabSz="1219194" rtl="0" eaLnBrk="1" latinLnBrk="0" hangingPunct="1">
              <a:spcBef>
                <a:spcPct val="0"/>
              </a:spcBef>
              <a:buNone/>
              <a:defRPr sz="3733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sz="1000" dirty="0">
                <a:solidFill>
                  <a:srgbClr val="FF0000"/>
                </a:solidFill>
              </a:rPr>
              <a:t>Confidential, not for distribution, subject to consult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39E52BF-FF10-4A6A-A3A7-75C5C01584ED}"/>
              </a:ext>
            </a:extLst>
          </p:cNvPr>
          <p:cNvSpPr/>
          <p:nvPr/>
        </p:nvSpPr>
        <p:spPr>
          <a:xfrm>
            <a:off x="527381" y="2051889"/>
            <a:ext cx="11041227" cy="188879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4" name="Rectangle 2">
            <a:extLst>
              <a:ext uri="{FF2B5EF4-FFF2-40B4-BE49-F238E27FC236}">
                <a16:creationId xmlns:a16="http://schemas.microsoft.com/office/drawing/2014/main" id="{7ABFE795-5E66-4481-9BD7-63BCD614B1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380" y="2494129"/>
            <a:ext cx="11041227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AU" dirty="0">
                <a:solidFill>
                  <a:schemeClr val="bg1"/>
                </a:solidFill>
              </a:rPr>
              <a:t>Finance works in partnership, to </a:t>
            </a:r>
            <a:r>
              <a:rPr lang="en-AU" b="1" dirty="0">
                <a:solidFill>
                  <a:schemeClr val="bg1"/>
                </a:solidFill>
              </a:rPr>
              <a:t>deliver strategic services, advice, guidance and support to schools </a:t>
            </a:r>
            <a:r>
              <a:rPr lang="en-AU" dirty="0">
                <a:solidFill>
                  <a:schemeClr val="bg1"/>
                </a:solidFill>
              </a:rPr>
              <a:t>and the broader Department of Education to empower them to use sound </a:t>
            </a:r>
            <a:r>
              <a:rPr lang="en-AU" b="1" dirty="0">
                <a:solidFill>
                  <a:schemeClr val="bg1"/>
                </a:solidFill>
              </a:rPr>
              <a:t>financial management to achieve their objectiv</a:t>
            </a:r>
            <a:r>
              <a:rPr lang="en-AU" dirty="0">
                <a:solidFill>
                  <a:schemeClr val="bg1"/>
                </a:solidFill>
              </a:rPr>
              <a:t>es.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956E2C-A37E-4633-9014-42DDA75564E4}"/>
              </a:ext>
            </a:extLst>
          </p:cNvPr>
          <p:cNvSpPr txBox="1"/>
          <p:nvPr/>
        </p:nvSpPr>
        <p:spPr>
          <a:xfrm>
            <a:off x="527380" y="1470725"/>
            <a:ext cx="22778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3200" b="1" dirty="0">
                <a:solidFill>
                  <a:schemeClr val="accent1"/>
                </a:solidFill>
              </a:rPr>
              <a:t>PURPOSE</a:t>
            </a:r>
            <a:endParaRPr lang="en-US" sz="3200" b="1" dirty="0">
              <a:solidFill>
                <a:schemeClr val="accent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E7DB8C-F08D-4504-A7CA-B84A3B3B1DD1}"/>
              </a:ext>
            </a:extLst>
          </p:cNvPr>
          <p:cNvSpPr/>
          <p:nvPr/>
        </p:nvSpPr>
        <p:spPr>
          <a:xfrm>
            <a:off x="527380" y="4575097"/>
            <a:ext cx="11041227" cy="129182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3949BAC-7C84-4599-8C7E-7C934D0D8C87}"/>
              </a:ext>
            </a:extLst>
          </p:cNvPr>
          <p:cNvSpPr txBox="1"/>
          <p:nvPr/>
        </p:nvSpPr>
        <p:spPr>
          <a:xfrm>
            <a:off x="9407661" y="4000084"/>
            <a:ext cx="21609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3200" b="1" dirty="0">
                <a:solidFill>
                  <a:schemeClr val="accent2"/>
                </a:solidFill>
              </a:rPr>
              <a:t>VISION</a:t>
            </a:r>
            <a:endParaRPr lang="en-US" sz="3200" b="1" dirty="0">
              <a:solidFill>
                <a:schemeClr val="accent2"/>
              </a:solidFill>
            </a:endParaRP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C530382C-2D5A-4261-873D-962D3B08BB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380" y="4775152"/>
            <a:ext cx="11041227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be the leading, trusted, service partner in the provision of timely, value add strategic financial information to schools </a:t>
            </a:r>
            <a:r>
              <a:rPr lang="en-US" altLang="en-US" sz="2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d the broader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partment of Education. 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9043294" y="928449"/>
            <a:ext cx="2484237" cy="358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>
                <a:solidFill>
                  <a:srgbClr val="FF0000"/>
                </a:solidFill>
              </a:rPr>
              <a:t>DRAFT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224256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0767B2-7E2B-42BD-8314-6BA08915FC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GUIDING principle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6EECC9-CDA3-4560-90AB-0FBD2259B4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6CE74F-C2F5-4075-B958-FFE3174EE3A5}" type="datetime4">
              <a:rPr kumimoji="0" lang="en-AU" sz="933" b="0" i="0" u="none" strike="noStrike" kern="1200" cap="none" spc="0" normalizeH="0" baseline="0" noProof="0" smtClean="0">
                <a:ln>
                  <a:noFill/>
                </a:ln>
                <a:solidFill>
                  <a:srgbClr val="425968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 November 2018</a:t>
            </a:fld>
            <a:endParaRPr kumimoji="0" lang="en-AU" sz="933" b="0" i="0" u="none" strike="noStrike" kern="1200" cap="none" spc="0" normalizeH="0" baseline="0" noProof="0" dirty="0">
              <a:ln>
                <a:noFill/>
              </a:ln>
              <a:solidFill>
                <a:srgbClr val="425968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EBBE8C-503D-4EEE-9D03-2E7386F306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33" b="0" i="0" u="none" strike="noStrike" kern="1200" cap="none" spc="0" normalizeH="0" baseline="0" noProof="0">
                <a:ln>
                  <a:noFill/>
                </a:ln>
                <a:solidFill>
                  <a:srgbClr val="425968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© NSW Department of Education | Document title</a:t>
            </a:r>
            <a:endParaRPr kumimoji="0" lang="en-AU" sz="933" b="0" i="0" u="none" strike="noStrike" kern="1200" cap="none" spc="0" normalizeH="0" baseline="0" noProof="0" dirty="0">
              <a:ln>
                <a:noFill/>
              </a:ln>
              <a:solidFill>
                <a:srgbClr val="425968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9F12D8-3CD6-4C3D-80BE-CFEF11D58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33" b="0" i="0" u="none" strike="noStrike" kern="1200" cap="none" spc="0" normalizeH="0" baseline="0" noProof="0" dirty="0">
                <a:ln>
                  <a:noFill/>
                </a:ln>
                <a:solidFill>
                  <a:srgbClr val="425968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Page </a:t>
            </a:r>
            <a:fld id="{4A2A1DA9-8CAF-4BCA-B496-545B076AED2D}" type="slidenum">
              <a:rPr kumimoji="0" lang="en-AU" sz="933" b="0" i="0" u="none" strike="noStrike" kern="1200" cap="none" spc="0" normalizeH="0" baseline="0" noProof="0" smtClean="0">
                <a:ln>
                  <a:noFill/>
                </a:ln>
                <a:solidFill>
                  <a:srgbClr val="425968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AU" sz="933" b="0" i="0" u="none" strike="noStrike" kern="1200" cap="none" spc="0" normalizeH="0" baseline="0" noProof="0" dirty="0">
              <a:ln>
                <a:noFill/>
              </a:ln>
              <a:solidFill>
                <a:srgbClr val="425968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92D760-0145-419D-92DE-1EB7EFD2B37D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0454B9F-EA73-45A4-A82A-C87B70E8FB5B}"/>
              </a:ext>
            </a:extLst>
          </p:cNvPr>
          <p:cNvSpPr/>
          <p:nvPr/>
        </p:nvSpPr>
        <p:spPr>
          <a:xfrm>
            <a:off x="527381" y="1636683"/>
            <a:ext cx="3500922" cy="38404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y Driv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1B7128F-C8B5-4309-B5D8-3F6CC3AEC3E5}"/>
              </a:ext>
            </a:extLst>
          </p:cNvPr>
          <p:cNvSpPr/>
          <p:nvPr/>
        </p:nvSpPr>
        <p:spPr>
          <a:xfrm>
            <a:off x="527381" y="2020726"/>
            <a:ext cx="3500922" cy="411265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ice of the Custom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porate Services strateg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e Finance strateg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al management capabil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overnment policy (e.g. outcome based budgeting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95466A-C984-45CD-8D54-5D3A25821ED7}"/>
              </a:ext>
            </a:extLst>
          </p:cNvPr>
          <p:cNvSpPr/>
          <p:nvPr/>
        </p:nvSpPr>
        <p:spPr>
          <a:xfrm>
            <a:off x="4175789" y="1639370"/>
            <a:ext cx="7392817" cy="38404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e Service Guiding Principles (Draft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DC5C60-5F53-4440-A188-A19D0BAB5ADD}"/>
              </a:ext>
            </a:extLst>
          </p:cNvPr>
          <p:cNvSpPr/>
          <p:nvPr/>
        </p:nvSpPr>
        <p:spPr>
          <a:xfrm>
            <a:off x="4175791" y="2023413"/>
            <a:ext cx="7392818" cy="411265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 to deliver on 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rpose and vision of Financ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 to enhance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ccountabil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A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 for the </a:t>
            </a:r>
            <a:r>
              <a:rPr lang="en-A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s of the customer (Schools &amp; Non-Schools)</a:t>
            </a: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 to 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rove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isibility and contro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 for 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stomer clarity 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 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tcom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 for effective 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overnance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including segregation of du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 to support 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ffective collaboration</a:t>
            </a: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 to 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verage resources and technology to optimise performanc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 to support the development of 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timal skills and competenci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 for 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inuous improvement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521307" y="6233423"/>
            <a:ext cx="2255789" cy="5639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200" dirty="0"/>
          </a:p>
        </p:txBody>
      </p:sp>
      <p:sp>
        <p:nvSpPr>
          <p:cNvPr id="13" name="Rectangle 12"/>
          <p:cNvSpPr/>
          <p:nvPr/>
        </p:nvSpPr>
        <p:spPr>
          <a:xfrm>
            <a:off x="9043294" y="928449"/>
            <a:ext cx="2484237" cy="358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>
                <a:solidFill>
                  <a:srgbClr val="FF0000"/>
                </a:solidFill>
              </a:rPr>
              <a:t>DRAFT Work in progress</a:t>
            </a:r>
          </a:p>
        </p:txBody>
      </p:sp>
      <p:sp>
        <p:nvSpPr>
          <p:cNvPr id="14" name="Title 9"/>
          <p:cNvSpPr txBox="1">
            <a:spLocks/>
          </p:cNvSpPr>
          <p:nvPr/>
        </p:nvSpPr>
        <p:spPr>
          <a:xfrm>
            <a:off x="527381" y="6651491"/>
            <a:ext cx="4536059" cy="206509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 defTabSz="1219194" rtl="0" eaLnBrk="1" latinLnBrk="0" hangingPunct="1">
              <a:spcBef>
                <a:spcPct val="0"/>
              </a:spcBef>
              <a:buNone/>
              <a:defRPr sz="3733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sz="1000" dirty="0">
                <a:solidFill>
                  <a:srgbClr val="FF0000"/>
                </a:solidFill>
              </a:rPr>
              <a:t>Confidential, not for distribution, subject to consultation</a:t>
            </a:r>
          </a:p>
        </p:txBody>
      </p:sp>
    </p:spTree>
    <p:extLst>
      <p:ext uri="{BB962C8B-B14F-4D97-AF65-F5344CB8AC3E}">
        <p14:creationId xmlns:p14="http://schemas.microsoft.com/office/powerpoint/2010/main" val="3044265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oice of customer - wh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/>
              <a:t>Principals –– Primary/Secondary/ SSP from Tamworth, </a:t>
            </a:r>
            <a:br>
              <a:rPr lang="en-AU" sz="2800" dirty="0"/>
            </a:br>
            <a:r>
              <a:rPr lang="en-AU" sz="2800" dirty="0"/>
              <a:t>Port Macquarie and Ryd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/>
              <a:t>School Admin Managers, SAO’s and Business Manag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/>
              <a:t>PPA and SPC – Finance and Administration Reference Group Memb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1800" dirty="0"/>
              <a:t>Directors Educational Leadership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1800" dirty="0"/>
              <a:t>Department Executive including Murat, George, et a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1800" dirty="0"/>
              <a:t>Other Senior Executive from across the Departmen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CE74F-C2F5-4075-B958-FFE3174EE3A5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NSW Department of Education | Document title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/>
              <a:t>Page </a:t>
            </a:r>
            <a:fld id="{4A2A1DA9-8CAF-4BCA-B496-545B076AED2D}" type="slidenum">
              <a:rPr lang="en-AU" smtClean="0"/>
              <a:pPr/>
              <a:t>4</a:t>
            </a:fld>
            <a:endParaRPr lang="en-AU" dirty="0"/>
          </a:p>
        </p:txBody>
      </p:sp>
      <p:sp>
        <p:nvSpPr>
          <p:cNvPr id="7" name="Content Placeholder 6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454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80BD4A5-7522-4988-92B7-54E5AF4CEE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80BD4A5-7522-4988-92B7-54E5AF4CEE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12031E-7266-4951-8896-33721D255B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AU" sz="3200" dirty="0">
              <a:latin typeface="Montserrat"/>
              <a:ea typeface="+mj-ea"/>
              <a:cs typeface="+mj-cs"/>
              <a:sym typeface="Montserra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AB3F6C-13C2-481F-A03D-9A0661B5B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oice of customer response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E839CA-4816-4A35-A78E-10AE1557FD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NSW Department of Education | Document title</a:t>
            </a:r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3E47A7-A29C-40B7-8E29-42CF981B7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/>
              <a:t>Page </a:t>
            </a:r>
            <a:fld id="{4A2A1DA9-8CAF-4BCA-B496-545B076AED2D}" type="slidenum">
              <a:rPr lang="en-AU" smtClean="0"/>
              <a:pPr/>
              <a:t>5</a:t>
            </a:fld>
            <a:endParaRPr lang="en-AU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1BFE9CB-61E9-4DE5-96A8-582B9A58F8F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AU" dirty="0"/>
              <a:t>The VoC exercise has unveiled a range of aspirations for the future of Finance</a:t>
            </a:r>
            <a:endParaRPr lang="en-US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C51FEB0-A7B9-4595-A6E9-FE338ED5B4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363" y="6332835"/>
            <a:ext cx="2208245" cy="365125"/>
          </a:xfrm>
        </p:spPr>
        <p:txBody>
          <a:bodyPr/>
          <a:lstStyle/>
          <a:p>
            <a:r>
              <a:rPr lang="en-AU" dirty="0"/>
              <a:t>28 November 2018</a:t>
            </a:r>
          </a:p>
        </p:txBody>
      </p:sp>
      <p:sp>
        <p:nvSpPr>
          <p:cNvPr id="12" name="Freeform 92">
            <a:extLst>
              <a:ext uri="{FF2B5EF4-FFF2-40B4-BE49-F238E27FC236}">
                <a16:creationId xmlns:a16="http://schemas.microsoft.com/office/drawing/2014/main" id="{2CE69656-4492-42A1-B545-EA29FFCF6EB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607366" y="3033376"/>
            <a:ext cx="1155131" cy="1363915"/>
          </a:xfrm>
          <a:custGeom>
            <a:avLst/>
            <a:gdLst>
              <a:gd name="T0" fmla="*/ 2147483647 w 3994"/>
              <a:gd name="T1" fmla="*/ 2147483647 h 4711"/>
              <a:gd name="T2" fmla="*/ 2147483647 w 3994"/>
              <a:gd name="T3" fmla="*/ 2147483647 h 4711"/>
              <a:gd name="T4" fmla="*/ 2147483647 w 3994"/>
              <a:gd name="T5" fmla="*/ 2147483647 h 4711"/>
              <a:gd name="T6" fmla="*/ 2147483647 w 3994"/>
              <a:gd name="T7" fmla="*/ 2147483647 h 4711"/>
              <a:gd name="T8" fmla="*/ 2147483647 w 3994"/>
              <a:gd name="T9" fmla="*/ 2147483647 h 4711"/>
              <a:gd name="T10" fmla="*/ 2147483647 w 3994"/>
              <a:gd name="T11" fmla="*/ 2147483647 h 4711"/>
              <a:gd name="T12" fmla="*/ 2147483647 w 3994"/>
              <a:gd name="T13" fmla="*/ 2147483647 h 4711"/>
              <a:gd name="T14" fmla="*/ 2147483647 w 3994"/>
              <a:gd name="T15" fmla="*/ 2147483647 h 4711"/>
              <a:gd name="T16" fmla="*/ 2147483647 w 3994"/>
              <a:gd name="T17" fmla="*/ 2147483647 h 4711"/>
              <a:gd name="T18" fmla="*/ 2147483647 w 3994"/>
              <a:gd name="T19" fmla="*/ 2147483647 h 4711"/>
              <a:gd name="T20" fmla="*/ 2147483647 w 3994"/>
              <a:gd name="T21" fmla="*/ 2147483647 h 4711"/>
              <a:gd name="T22" fmla="*/ 2147483647 w 3994"/>
              <a:gd name="T23" fmla="*/ 2147483647 h 4711"/>
              <a:gd name="T24" fmla="*/ 2147483647 w 3994"/>
              <a:gd name="T25" fmla="*/ 2147483647 h 4711"/>
              <a:gd name="T26" fmla="*/ 2147483647 w 3994"/>
              <a:gd name="T27" fmla="*/ 2147483647 h 4711"/>
              <a:gd name="T28" fmla="*/ 2147483647 w 3994"/>
              <a:gd name="T29" fmla="*/ 2147483647 h 4711"/>
              <a:gd name="T30" fmla="*/ 2147483647 w 3994"/>
              <a:gd name="T31" fmla="*/ 2147483647 h 4711"/>
              <a:gd name="T32" fmla="*/ 2147483647 w 3994"/>
              <a:gd name="T33" fmla="*/ 2147483647 h 4711"/>
              <a:gd name="T34" fmla="*/ 2147483647 w 3994"/>
              <a:gd name="T35" fmla="*/ 2147483647 h 4711"/>
              <a:gd name="T36" fmla="*/ 2147483647 w 3994"/>
              <a:gd name="T37" fmla="*/ 2147483647 h 4711"/>
              <a:gd name="T38" fmla="*/ 2147483647 w 3994"/>
              <a:gd name="T39" fmla="*/ 2147483647 h 4711"/>
              <a:gd name="T40" fmla="*/ 2147483647 w 3994"/>
              <a:gd name="T41" fmla="*/ 2147483647 h 4711"/>
              <a:gd name="T42" fmla="*/ 2147483647 w 3994"/>
              <a:gd name="T43" fmla="*/ 2147483647 h 4711"/>
              <a:gd name="T44" fmla="*/ 2147483647 w 3994"/>
              <a:gd name="T45" fmla="*/ 2147483647 h 4711"/>
              <a:gd name="T46" fmla="*/ 2147483647 w 3994"/>
              <a:gd name="T47" fmla="*/ 2147483647 h 4711"/>
              <a:gd name="T48" fmla="*/ 2147483647 w 3994"/>
              <a:gd name="T49" fmla="*/ 2147483647 h 4711"/>
              <a:gd name="T50" fmla="*/ 2147483647 w 3994"/>
              <a:gd name="T51" fmla="*/ 2147483647 h 4711"/>
              <a:gd name="T52" fmla="*/ 2147483647 w 3994"/>
              <a:gd name="T53" fmla="*/ 2147483647 h 4711"/>
              <a:gd name="T54" fmla="*/ 2147483647 w 3994"/>
              <a:gd name="T55" fmla="*/ 2147483647 h 4711"/>
              <a:gd name="T56" fmla="*/ 2147483647 w 3994"/>
              <a:gd name="T57" fmla="*/ 2147483647 h 4711"/>
              <a:gd name="T58" fmla="*/ 2147483647 w 3994"/>
              <a:gd name="T59" fmla="*/ 2147483647 h 4711"/>
              <a:gd name="T60" fmla="*/ 2147483647 w 3994"/>
              <a:gd name="T61" fmla="*/ 2147483647 h 4711"/>
              <a:gd name="T62" fmla="*/ 2147483647 w 3994"/>
              <a:gd name="T63" fmla="*/ 2147483647 h 4711"/>
              <a:gd name="T64" fmla="*/ 2147483647 w 3994"/>
              <a:gd name="T65" fmla="*/ 2147483647 h 4711"/>
              <a:gd name="T66" fmla="*/ 2147483647 w 3994"/>
              <a:gd name="T67" fmla="*/ 2147483647 h 4711"/>
              <a:gd name="T68" fmla="*/ 2147483647 w 3994"/>
              <a:gd name="T69" fmla="*/ 2147483647 h 4711"/>
              <a:gd name="T70" fmla="*/ 2147483647 w 3994"/>
              <a:gd name="T71" fmla="*/ 2147483647 h 4711"/>
              <a:gd name="T72" fmla="*/ 2147483647 w 3994"/>
              <a:gd name="T73" fmla="*/ 2147483647 h 4711"/>
              <a:gd name="T74" fmla="*/ 2147483647 w 3994"/>
              <a:gd name="T75" fmla="*/ 2147483647 h 4711"/>
              <a:gd name="T76" fmla="*/ 2147483647 w 3994"/>
              <a:gd name="T77" fmla="*/ 2147483647 h 4711"/>
              <a:gd name="T78" fmla="*/ 2147483647 w 3994"/>
              <a:gd name="T79" fmla="*/ 2147483647 h 4711"/>
              <a:gd name="T80" fmla="*/ 2147483647 w 3994"/>
              <a:gd name="T81" fmla="*/ 2147483647 h 4711"/>
              <a:gd name="T82" fmla="*/ 2147483647 w 3994"/>
              <a:gd name="T83" fmla="*/ 2147483647 h 4711"/>
              <a:gd name="T84" fmla="*/ 2147483647 w 3994"/>
              <a:gd name="T85" fmla="*/ 2147483647 h 4711"/>
              <a:gd name="T86" fmla="*/ 2147483647 w 3994"/>
              <a:gd name="T87" fmla="*/ 2147483647 h 4711"/>
              <a:gd name="T88" fmla="*/ 2147483647 w 3994"/>
              <a:gd name="T89" fmla="*/ 2147483647 h 4711"/>
              <a:gd name="T90" fmla="*/ 2147483647 w 3994"/>
              <a:gd name="T91" fmla="*/ 2147483647 h 4711"/>
              <a:gd name="T92" fmla="*/ 2147483647 w 3994"/>
              <a:gd name="T93" fmla="*/ 2147483647 h 4711"/>
              <a:gd name="T94" fmla="*/ 2147483647 w 3994"/>
              <a:gd name="T95" fmla="*/ 2147483647 h 4711"/>
              <a:gd name="T96" fmla="*/ 2147483647 w 3994"/>
              <a:gd name="T97" fmla="*/ 2147483647 h 4711"/>
              <a:gd name="T98" fmla="*/ 2147483647 w 3994"/>
              <a:gd name="T99" fmla="*/ 2147483647 h 4711"/>
              <a:gd name="T100" fmla="*/ 2147483647 w 3994"/>
              <a:gd name="T101" fmla="*/ 2147483647 h 4711"/>
              <a:gd name="T102" fmla="*/ 2147483647 w 3994"/>
              <a:gd name="T103" fmla="*/ 2147483647 h 4711"/>
              <a:gd name="T104" fmla="*/ 2147483647 w 3994"/>
              <a:gd name="T105" fmla="*/ 2147483647 h 4711"/>
              <a:gd name="T106" fmla="*/ 2147483647 w 3994"/>
              <a:gd name="T107" fmla="*/ 2147483647 h 4711"/>
              <a:gd name="T108" fmla="*/ 2147483647 w 3994"/>
              <a:gd name="T109" fmla="*/ 2147483647 h 4711"/>
              <a:gd name="T110" fmla="*/ 2147483647 w 3994"/>
              <a:gd name="T111" fmla="*/ 2147483647 h 4711"/>
              <a:gd name="T112" fmla="*/ 2147483647 w 3994"/>
              <a:gd name="T113" fmla="*/ 2147483647 h 4711"/>
              <a:gd name="T114" fmla="*/ 2147483647 w 3994"/>
              <a:gd name="T115" fmla="*/ 2147483647 h 4711"/>
              <a:gd name="T116" fmla="*/ 2147483647 w 3994"/>
              <a:gd name="T117" fmla="*/ 2147483647 h 4711"/>
              <a:gd name="T118" fmla="*/ 2147483647 w 3994"/>
              <a:gd name="T119" fmla="*/ 2147483647 h 4711"/>
              <a:gd name="T120" fmla="*/ 2147483647 w 3994"/>
              <a:gd name="T121" fmla="*/ 2147483647 h 4711"/>
              <a:gd name="T122" fmla="*/ 2147483647 w 3994"/>
              <a:gd name="T123" fmla="*/ 2147483647 h 4711"/>
              <a:gd name="T124" fmla="*/ 2147483647 w 3994"/>
              <a:gd name="T125" fmla="*/ 2147483647 h 471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994"/>
              <a:gd name="T190" fmla="*/ 0 h 4711"/>
              <a:gd name="T191" fmla="*/ 3994 w 3994"/>
              <a:gd name="T192" fmla="*/ 4711 h 471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994" h="4711">
                <a:moveTo>
                  <a:pt x="1052" y="492"/>
                </a:moveTo>
                <a:lnTo>
                  <a:pt x="1052" y="563"/>
                </a:lnTo>
                <a:lnTo>
                  <a:pt x="1050" y="588"/>
                </a:lnTo>
                <a:lnTo>
                  <a:pt x="1048" y="613"/>
                </a:lnTo>
                <a:lnTo>
                  <a:pt x="1042" y="638"/>
                </a:lnTo>
                <a:lnTo>
                  <a:pt x="1035" y="660"/>
                </a:lnTo>
                <a:lnTo>
                  <a:pt x="1026" y="682"/>
                </a:lnTo>
                <a:lnTo>
                  <a:pt x="1015" y="701"/>
                </a:lnTo>
                <a:lnTo>
                  <a:pt x="1002" y="720"/>
                </a:lnTo>
                <a:lnTo>
                  <a:pt x="989" y="738"/>
                </a:lnTo>
                <a:lnTo>
                  <a:pt x="973" y="753"/>
                </a:lnTo>
                <a:lnTo>
                  <a:pt x="957" y="767"/>
                </a:lnTo>
                <a:lnTo>
                  <a:pt x="939" y="779"/>
                </a:lnTo>
                <a:lnTo>
                  <a:pt x="920" y="789"/>
                </a:lnTo>
                <a:lnTo>
                  <a:pt x="900" y="797"/>
                </a:lnTo>
                <a:lnTo>
                  <a:pt x="880" y="804"/>
                </a:lnTo>
                <a:lnTo>
                  <a:pt x="859" y="807"/>
                </a:lnTo>
                <a:lnTo>
                  <a:pt x="837" y="808"/>
                </a:lnTo>
                <a:lnTo>
                  <a:pt x="816" y="807"/>
                </a:lnTo>
                <a:lnTo>
                  <a:pt x="796" y="804"/>
                </a:lnTo>
                <a:lnTo>
                  <a:pt x="775" y="797"/>
                </a:lnTo>
                <a:lnTo>
                  <a:pt x="754" y="789"/>
                </a:lnTo>
                <a:lnTo>
                  <a:pt x="737" y="779"/>
                </a:lnTo>
                <a:lnTo>
                  <a:pt x="719" y="767"/>
                </a:lnTo>
                <a:lnTo>
                  <a:pt x="702" y="753"/>
                </a:lnTo>
                <a:lnTo>
                  <a:pt x="687" y="738"/>
                </a:lnTo>
                <a:lnTo>
                  <a:pt x="672" y="720"/>
                </a:lnTo>
                <a:lnTo>
                  <a:pt x="659" y="701"/>
                </a:lnTo>
                <a:lnTo>
                  <a:pt x="648" y="682"/>
                </a:lnTo>
                <a:lnTo>
                  <a:pt x="640" y="660"/>
                </a:lnTo>
                <a:lnTo>
                  <a:pt x="632" y="638"/>
                </a:lnTo>
                <a:lnTo>
                  <a:pt x="628" y="613"/>
                </a:lnTo>
                <a:lnTo>
                  <a:pt x="624" y="588"/>
                </a:lnTo>
                <a:lnTo>
                  <a:pt x="622" y="563"/>
                </a:lnTo>
                <a:lnTo>
                  <a:pt x="624" y="449"/>
                </a:lnTo>
                <a:lnTo>
                  <a:pt x="646" y="454"/>
                </a:lnTo>
                <a:lnTo>
                  <a:pt x="670" y="459"/>
                </a:lnTo>
                <a:lnTo>
                  <a:pt x="694" y="460"/>
                </a:lnTo>
                <a:lnTo>
                  <a:pt x="719" y="461"/>
                </a:lnTo>
                <a:lnTo>
                  <a:pt x="738" y="461"/>
                </a:lnTo>
                <a:lnTo>
                  <a:pt x="756" y="459"/>
                </a:lnTo>
                <a:lnTo>
                  <a:pt x="775" y="457"/>
                </a:lnTo>
                <a:lnTo>
                  <a:pt x="793" y="453"/>
                </a:lnTo>
                <a:lnTo>
                  <a:pt x="811" y="449"/>
                </a:lnTo>
                <a:lnTo>
                  <a:pt x="829" y="443"/>
                </a:lnTo>
                <a:lnTo>
                  <a:pt x="847" y="438"/>
                </a:lnTo>
                <a:lnTo>
                  <a:pt x="863" y="431"/>
                </a:lnTo>
                <a:lnTo>
                  <a:pt x="880" y="423"/>
                </a:lnTo>
                <a:lnTo>
                  <a:pt x="896" y="414"/>
                </a:lnTo>
                <a:lnTo>
                  <a:pt x="911" y="405"/>
                </a:lnTo>
                <a:lnTo>
                  <a:pt x="927" y="395"/>
                </a:lnTo>
                <a:lnTo>
                  <a:pt x="940" y="384"/>
                </a:lnTo>
                <a:lnTo>
                  <a:pt x="954" y="373"/>
                </a:lnTo>
                <a:lnTo>
                  <a:pt x="968" y="361"/>
                </a:lnTo>
                <a:lnTo>
                  <a:pt x="980" y="348"/>
                </a:lnTo>
                <a:lnTo>
                  <a:pt x="990" y="354"/>
                </a:lnTo>
                <a:lnTo>
                  <a:pt x="1001" y="361"/>
                </a:lnTo>
                <a:lnTo>
                  <a:pt x="1013" y="370"/>
                </a:lnTo>
                <a:lnTo>
                  <a:pt x="1019" y="376"/>
                </a:lnTo>
                <a:lnTo>
                  <a:pt x="1024" y="383"/>
                </a:lnTo>
                <a:lnTo>
                  <a:pt x="1030" y="391"/>
                </a:lnTo>
                <a:lnTo>
                  <a:pt x="1035" y="401"/>
                </a:lnTo>
                <a:lnTo>
                  <a:pt x="1039" y="412"/>
                </a:lnTo>
                <a:lnTo>
                  <a:pt x="1044" y="424"/>
                </a:lnTo>
                <a:lnTo>
                  <a:pt x="1048" y="438"/>
                </a:lnTo>
                <a:lnTo>
                  <a:pt x="1050" y="454"/>
                </a:lnTo>
                <a:lnTo>
                  <a:pt x="1052" y="471"/>
                </a:lnTo>
                <a:lnTo>
                  <a:pt x="1052" y="492"/>
                </a:lnTo>
                <a:close/>
                <a:moveTo>
                  <a:pt x="570" y="598"/>
                </a:moveTo>
                <a:lnTo>
                  <a:pt x="505" y="403"/>
                </a:lnTo>
                <a:lnTo>
                  <a:pt x="501" y="384"/>
                </a:lnTo>
                <a:lnTo>
                  <a:pt x="500" y="365"/>
                </a:lnTo>
                <a:lnTo>
                  <a:pt x="501" y="347"/>
                </a:lnTo>
                <a:lnTo>
                  <a:pt x="505" y="329"/>
                </a:lnTo>
                <a:lnTo>
                  <a:pt x="512" y="313"/>
                </a:lnTo>
                <a:lnTo>
                  <a:pt x="522" y="296"/>
                </a:lnTo>
                <a:lnTo>
                  <a:pt x="534" y="280"/>
                </a:lnTo>
                <a:lnTo>
                  <a:pt x="548" y="264"/>
                </a:lnTo>
                <a:lnTo>
                  <a:pt x="564" y="251"/>
                </a:lnTo>
                <a:lnTo>
                  <a:pt x="582" y="237"/>
                </a:lnTo>
                <a:lnTo>
                  <a:pt x="600" y="223"/>
                </a:lnTo>
                <a:lnTo>
                  <a:pt x="621" y="211"/>
                </a:lnTo>
                <a:lnTo>
                  <a:pt x="643" y="200"/>
                </a:lnTo>
                <a:lnTo>
                  <a:pt x="665" y="189"/>
                </a:lnTo>
                <a:lnTo>
                  <a:pt x="688" y="178"/>
                </a:lnTo>
                <a:lnTo>
                  <a:pt x="712" y="169"/>
                </a:lnTo>
                <a:lnTo>
                  <a:pt x="735" y="161"/>
                </a:lnTo>
                <a:lnTo>
                  <a:pt x="760" y="153"/>
                </a:lnTo>
                <a:lnTo>
                  <a:pt x="783" y="146"/>
                </a:lnTo>
                <a:lnTo>
                  <a:pt x="807" y="140"/>
                </a:lnTo>
                <a:lnTo>
                  <a:pt x="830" y="136"/>
                </a:lnTo>
                <a:lnTo>
                  <a:pt x="854" y="132"/>
                </a:lnTo>
                <a:lnTo>
                  <a:pt x="874" y="129"/>
                </a:lnTo>
                <a:lnTo>
                  <a:pt x="895" y="128"/>
                </a:lnTo>
                <a:lnTo>
                  <a:pt x="914" y="127"/>
                </a:lnTo>
                <a:lnTo>
                  <a:pt x="932" y="128"/>
                </a:lnTo>
                <a:lnTo>
                  <a:pt x="949" y="129"/>
                </a:lnTo>
                <a:lnTo>
                  <a:pt x="962" y="132"/>
                </a:lnTo>
                <a:lnTo>
                  <a:pt x="975" y="136"/>
                </a:lnTo>
                <a:lnTo>
                  <a:pt x="986" y="140"/>
                </a:lnTo>
                <a:lnTo>
                  <a:pt x="993" y="147"/>
                </a:lnTo>
                <a:lnTo>
                  <a:pt x="998" y="154"/>
                </a:lnTo>
                <a:lnTo>
                  <a:pt x="1013" y="187"/>
                </a:lnTo>
                <a:lnTo>
                  <a:pt x="1073" y="209"/>
                </a:lnTo>
                <a:lnTo>
                  <a:pt x="1082" y="215"/>
                </a:lnTo>
                <a:lnTo>
                  <a:pt x="1092" y="220"/>
                </a:lnTo>
                <a:lnTo>
                  <a:pt x="1100" y="227"/>
                </a:lnTo>
                <a:lnTo>
                  <a:pt x="1108" y="235"/>
                </a:lnTo>
                <a:lnTo>
                  <a:pt x="1117" y="245"/>
                </a:lnTo>
                <a:lnTo>
                  <a:pt x="1123" y="255"/>
                </a:lnTo>
                <a:lnTo>
                  <a:pt x="1129" y="267"/>
                </a:lnTo>
                <a:lnTo>
                  <a:pt x="1136" y="278"/>
                </a:lnTo>
                <a:lnTo>
                  <a:pt x="1140" y="292"/>
                </a:lnTo>
                <a:lnTo>
                  <a:pt x="1144" y="306"/>
                </a:lnTo>
                <a:lnTo>
                  <a:pt x="1147" y="319"/>
                </a:lnTo>
                <a:lnTo>
                  <a:pt x="1150" y="333"/>
                </a:lnTo>
                <a:lnTo>
                  <a:pt x="1150" y="348"/>
                </a:lnTo>
                <a:lnTo>
                  <a:pt x="1150" y="364"/>
                </a:lnTo>
                <a:lnTo>
                  <a:pt x="1148" y="379"/>
                </a:lnTo>
                <a:lnTo>
                  <a:pt x="1147" y="394"/>
                </a:lnTo>
                <a:lnTo>
                  <a:pt x="1107" y="587"/>
                </a:lnTo>
                <a:lnTo>
                  <a:pt x="1103" y="614"/>
                </a:lnTo>
                <a:lnTo>
                  <a:pt x="1097" y="642"/>
                </a:lnTo>
                <a:lnTo>
                  <a:pt x="1090" y="669"/>
                </a:lnTo>
                <a:lnTo>
                  <a:pt x="1081" y="694"/>
                </a:lnTo>
                <a:lnTo>
                  <a:pt x="1068" y="719"/>
                </a:lnTo>
                <a:lnTo>
                  <a:pt x="1055" y="741"/>
                </a:lnTo>
                <a:lnTo>
                  <a:pt x="1039" y="763"/>
                </a:lnTo>
                <a:lnTo>
                  <a:pt x="1022" y="782"/>
                </a:lnTo>
                <a:lnTo>
                  <a:pt x="1004" y="800"/>
                </a:lnTo>
                <a:lnTo>
                  <a:pt x="983" y="817"/>
                </a:lnTo>
                <a:lnTo>
                  <a:pt x="962" y="830"/>
                </a:lnTo>
                <a:lnTo>
                  <a:pt x="939" y="841"/>
                </a:lnTo>
                <a:lnTo>
                  <a:pt x="916" y="851"/>
                </a:lnTo>
                <a:lnTo>
                  <a:pt x="891" y="858"/>
                </a:lnTo>
                <a:lnTo>
                  <a:pt x="865" y="862"/>
                </a:lnTo>
                <a:lnTo>
                  <a:pt x="837" y="863"/>
                </a:lnTo>
                <a:lnTo>
                  <a:pt x="811" y="862"/>
                </a:lnTo>
                <a:lnTo>
                  <a:pt x="786" y="858"/>
                </a:lnTo>
                <a:lnTo>
                  <a:pt x="761" y="851"/>
                </a:lnTo>
                <a:lnTo>
                  <a:pt x="738" y="843"/>
                </a:lnTo>
                <a:lnTo>
                  <a:pt x="716" y="832"/>
                </a:lnTo>
                <a:lnTo>
                  <a:pt x="695" y="818"/>
                </a:lnTo>
                <a:lnTo>
                  <a:pt x="675" y="803"/>
                </a:lnTo>
                <a:lnTo>
                  <a:pt x="657" y="786"/>
                </a:lnTo>
                <a:lnTo>
                  <a:pt x="639" y="767"/>
                </a:lnTo>
                <a:lnTo>
                  <a:pt x="624" y="746"/>
                </a:lnTo>
                <a:lnTo>
                  <a:pt x="610" y="724"/>
                </a:lnTo>
                <a:lnTo>
                  <a:pt x="598" y="701"/>
                </a:lnTo>
                <a:lnTo>
                  <a:pt x="588" y="676"/>
                </a:lnTo>
                <a:lnTo>
                  <a:pt x="580" y="651"/>
                </a:lnTo>
                <a:lnTo>
                  <a:pt x="574" y="625"/>
                </a:lnTo>
                <a:lnTo>
                  <a:pt x="570" y="598"/>
                </a:lnTo>
                <a:close/>
                <a:moveTo>
                  <a:pt x="2740" y="2532"/>
                </a:moveTo>
                <a:lnTo>
                  <a:pt x="2740" y="2532"/>
                </a:lnTo>
                <a:lnTo>
                  <a:pt x="2748" y="2534"/>
                </a:lnTo>
                <a:lnTo>
                  <a:pt x="2755" y="2535"/>
                </a:lnTo>
                <a:lnTo>
                  <a:pt x="2760" y="2539"/>
                </a:lnTo>
                <a:lnTo>
                  <a:pt x="2767" y="2543"/>
                </a:lnTo>
                <a:lnTo>
                  <a:pt x="2771" y="2549"/>
                </a:lnTo>
                <a:lnTo>
                  <a:pt x="2774" y="2556"/>
                </a:lnTo>
                <a:lnTo>
                  <a:pt x="2777" y="2563"/>
                </a:lnTo>
                <a:lnTo>
                  <a:pt x="2777" y="2571"/>
                </a:lnTo>
                <a:lnTo>
                  <a:pt x="2777" y="2578"/>
                </a:lnTo>
                <a:lnTo>
                  <a:pt x="2774" y="2585"/>
                </a:lnTo>
                <a:lnTo>
                  <a:pt x="2771" y="2591"/>
                </a:lnTo>
                <a:lnTo>
                  <a:pt x="2767" y="2597"/>
                </a:lnTo>
                <a:lnTo>
                  <a:pt x="2760" y="2601"/>
                </a:lnTo>
                <a:lnTo>
                  <a:pt x="2755" y="2605"/>
                </a:lnTo>
                <a:lnTo>
                  <a:pt x="2748" y="2607"/>
                </a:lnTo>
                <a:lnTo>
                  <a:pt x="2740" y="2608"/>
                </a:lnTo>
                <a:lnTo>
                  <a:pt x="2733" y="2607"/>
                </a:lnTo>
                <a:lnTo>
                  <a:pt x="2726" y="2605"/>
                </a:lnTo>
                <a:lnTo>
                  <a:pt x="2719" y="2601"/>
                </a:lnTo>
                <a:lnTo>
                  <a:pt x="2714" y="2597"/>
                </a:lnTo>
                <a:lnTo>
                  <a:pt x="2709" y="2591"/>
                </a:lnTo>
                <a:lnTo>
                  <a:pt x="2705" y="2585"/>
                </a:lnTo>
                <a:lnTo>
                  <a:pt x="2703" y="2578"/>
                </a:lnTo>
                <a:lnTo>
                  <a:pt x="2703" y="2571"/>
                </a:lnTo>
                <a:lnTo>
                  <a:pt x="2703" y="2563"/>
                </a:lnTo>
                <a:lnTo>
                  <a:pt x="2705" y="2556"/>
                </a:lnTo>
                <a:lnTo>
                  <a:pt x="2709" y="2549"/>
                </a:lnTo>
                <a:lnTo>
                  <a:pt x="2714" y="2543"/>
                </a:lnTo>
                <a:lnTo>
                  <a:pt x="2719" y="2539"/>
                </a:lnTo>
                <a:lnTo>
                  <a:pt x="2726" y="2535"/>
                </a:lnTo>
                <a:lnTo>
                  <a:pt x="2733" y="2534"/>
                </a:lnTo>
                <a:lnTo>
                  <a:pt x="2740" y="2532"/>
                </a:lnTo>
                <a:close/>
                <a:moveTo>
                  <a:pt x="1256" y="2571"/>
                </a:moveTo>
                <a:lnTo>
                  <a:pt x="1256" y="2571"/>
                </a:lnTo>
                <a:lnTo>
                  <a:pt x="1256" y="2578"/>
                </a:lnTo>
                <a:lnTo>
                  <a:pt x="1258" y="2585"/>
                </a:lnTo>
                <a:lnTo>
                  <a:pt x="1261" y="2591"/>
                </a:lnTo>
                <a:lnTo>
                  <a:pt x="1267" y="2597"/>
                </a:lnTo>
                <a:lnTo>
                  <a:pt x="1272" y="2601"/>
                </a:lnTo>
                <a:lnTo>
                  <a:pt x="1278" y="2605"/>
                </a:lnTo>
                <a:lnTo>
                  <a:pt x="1285" y="2607"/>
                </a:lnTo>
                <a:lnTo>
                  <a:pt x="1293" y="2608"/>
                </a:lnTo>
                <a:lnTo>
                  <a:pt x="1300" y="2607"/>
                </a:lnTo>
                <a:lnTo>
                  <a:pt x="1308" y="2605"/>
                </a:lnTo>
                <a:lnTo>
                  <a:pt x="1313" y="2601"/>
                </a:lnTo>
                <a:lnTo>
                  <a:pt x="1319" y="2597"/>
                </a:lnTo>
                <a:lnTo>
                  <a:pt x="1324" y="2591"/>
                </a:lnTo>
                <a:lnTo>
                  <a:pt x="1327" y="2585"/>
                </a:lnTo>
                <a:lnTo>
                  <a:pt x="1330" y="2578"/>
                </a:lnTo>
                <a:lnTo>
                  <a:pt x="1330" y="2571"/>
                </a:lnTo>
                <a:lnTo>
                  <a:pt x="1330" y="2563"/>
                </a:lnTo>
                <a:lnTo>
                  <a:pt x="1327" y="2556"/>
                </a:lnTo>
                <a:lnTo>
                  <a:pt x="1324" y="2549"/>
                </a:lnTo>
                <a:lnTo>
                  <a:pt x="1319" y="2543"/>
                </a:lnTo>
                <a:lnTo>
                  <a:pt x="1313" y="2539"/>
                </a:lnTo>
                <a:lnTo>
                  <a:pt x="1308" y="2535"/>
                </a:lnTo>
                <a:lnTo>
                  <a:pt x="1300" y="2534"/>
                </a:lnTo>
                <a:lnTo>
                  <a:pt x="1293" y="2532"/>
                </a:lnTo>
                <a:lnTo>
                  <a:pt x="1285" y="2534"/>
                </a:lnTo>
                <a:lnTo>
                  <a:pt x="1278" y="2535"/>
                </a:lnTo>
                <a:lnTo>
                  <a:pt x="1272" y="2539"/>
                </a:lnTo>
                <a:lnTo>
                  <a:pt x="1267" y="2543"/>
                </a:lnTo>
                <a:lnTo>
                  <a:pt x="1261" y="2549"/>
                </a:lnTo>
                <a:lnTo>
                  <a:pt x="1258" y="2556"/>
                </a:lnTo>
                <a:lnTo>
                  <a:pt x="1256" y="2563"/>
                </a:lnTo>
                <a:lnTo>
                  <a:pt x="1256" y="2571"/>
                </a:lnTo>
                <a:close/>
                <a:moveTo>
                  <a:pt x="1251" y="2704"/>
                </a:moveTo>
                <a:lnTo>
                  <a:pt x="1505" y="3027"/>
                </a:lnTo>
                <a:lnTo>
                  <a:pt x="1486" y="2704"/>
                </a:lnTo>
                <a:lnTo>
                  <a:pt x="1251" y="2704"/>
                </a:lnTo>
                <a:close/>
                <a:moveTo>
                  <a:pt x="2785" y="2704"/>
                </a:moveTo>
                <a:lnTo>
                  <a:pt x="2546" y="2704"/>
                </a:lnTo>
                <a:lnTo>
                  <a:pt x="2526" y="3034"/>
                </a:lnTo>
                <a:lnTo>
                  <a:pt x="2785" y="2704"/>
                </a:lnTo>
                <a:close/>
                <a:moveTo>
                  <a:pt x="3814" y="2411"/>
                </a:moveTo>
                <a:lnTo>
                  <a:pt x="3636" y="2411"/>
                </a:lnTo>
                <a:lnTo>
                  <a:pt x="3704" y="2710"/>
                </a:lnTo>
                <a:lnTo>
                  <a:pt x="3814" y="2412"/>
                </a:lnTo>
                <a:lnTo>
                  <a:pt x="3814" y="2411"/>
                </a:lnTo>
                <a:close/>
                <a:moveTo>
                  <a:pt x="3072" y="1142"/>
                </a:moveTo>
                <a:lnTo>
                  <a:pt x="2858" y="1197"/>
                </a:lnTo>
                <a:lnTo>
                  <a:pt x="2858" y="2601"/>
                </a:lnTo>
                <a:lnTo>
                  <a:pt x="2939" y="2200"/>
                </a:lnTo>
                <a:lnTo>
                  <a:pt x="3552" y="2200"/>
                </a:lnTo>
                <a:lnTo>
                  <a:pt x="3552" y="1625"/>
                </a:lnTo>
                <a:lnTo>
                  <a:pt x="3581" y="1462"/>
                </a:lnTo>
                <a:lnTo>
                  <a:pt x="3635" y="1472"/>
                </a:lnTo>
                <a:lnTo>
                  <a:pt x="3607" y="1630"/>
                </a:lnTo>
                <a:lnTo>
                  <a:pt x="3607" y="2278"/>
                </a:lnTo>
                <a:lnTo>
                  <a:pt x="3624" y="2356"/>
                </a:lnTo>
                <a:lnTo>
                  <a:pt x="3811" y="2356"/>
                </a:lnTo>
                <a:lnTo>
                  <a:pt x="3750" y="1301"/>
                </a:lnTo>
                <a:lnTo>
                  <a:pt x="3749" y="1287"/>
                </a:lnTo>
                <a:lnTo>
                  <a:pt x="3743" y="1275"/>
                </a:lnTo>
                <a:lnTo>
                  <a:pt x="3737" y="1263"/>
                </a:lnTo>
                <a:lnTo>
                  <a:pt x="3727" y="1250"/>
                </a:lnTo>
                <a:lnTo>
                  <a:pt x="3715" y="1239"/>
                </a:lnTo>
                <a:lnTo>
                  <a:pt x="3701" y="1230"/>
                </a:lnTo>
                <a:lnTo>
                  <a:pt x="3686" y="1220"/>
                </a:lnTo>
                <a:lnTo>
                  <a:pt x="3668" y="1213"/>
                </a:lnTo>
                <a:lnTo>
                  <a:pt x="3471" y="1142"/>
                </a:lnTo>
                <a:lnTo>
                  <a:pt x="3388" y="1471"/>
                </a:lnTo>
                <a:lnTo>
                  <a:pt x="3385" y="1483"/>
                </a:lnTo>
                <a:lnTo>
                  <a:pt x="3381" y="1494"/>
                </a:lnTo>
                <a:lnTo>
                  <a:pt x="3376" y="1504"/>
                </a:lnTo>
                <a:lnTo>
                  <a:pt x="3370" y="1513"/>
                </a:lnTo>
                <a:lnTo>
                  <a:pt x="3363" y="1522"/>
                </a:lnTo>
                <a:lnTo>
                  <a:pt x="3357" y="1530"/>
                </a:lnTo>
                <a:lnTo>
                  <a:pt x="3350" y="1537"/>
                </a:lnTo>
                <a:lnTo>
                  <a:pt x="3341" y="1542"/>
                </a:lnTo>
                <a:lnTo>
                  <a:pt x="3333" y="1548"/>
                </a:lnTo>
                <a:lnTo>
                  <a:pt x="3325" y="1552"/>
                </a:lnTo>
                <a:lnTo>
                  <a:pt x="3307" y="1559"/>
                </a:lnTo>
                <a:lnTo>
                  <a:pt x="3289" y="1562"/>
                </a:lnTo>
                <a:lnTo>
                  <a:pt x="3270" y="1562"/>
                </a:lnTo>
                <a:lnTo>
                  <a:pt x="3251" y="1560"/>
                </a:lnTo>
                <a:lnTo>
                  <a:pt x="3233" y="1555"/>
                </a:lnTo>
                <a:lnTo>
                  <a:pt x="3215" y="1546"/>
                </a:lnTo>
                <a:lnTo>
                  <a:pt x="3198" y="1537"/>
                </a:lnTo>
                <a:lnTo>
                  <a:pt x="3183" y="1523"/>
                </a:lnTo>
                <a:lnTo>
                  <a:pt x="3178" y="1516"/>
                </a:lnTo>
                <a:lnTo>
                  <a:pt x="3171" y="1508"/>
                </a:lnTo>
                <a:lnTo>
                  <a:pt x="3165" y="1500"/>
                </a:lnTo>
                <a:lnTo>
                  <a:pt x="3161" y="1491"/>
                </a:lnTo>
                <a:lnTo>
                  <a:pt x="3157" y="1482"/>
                </a:lnTo>
                <a:lnTo>
                  <a:pt x="3154" y="1471"/>
                </a:lnTo>
                <a:lnTo>
                  <a:pt x="3072" y="1142"/>
                </a:lnTo>
                <a:close/>
                <a:moveTo>
                  <a:pt x="114" y="2687"/>
                </a:moveTo>
                <a:lnTo>
                  <a:pt x="179" y="2687"/>
                </a:lnTo>
                <a:lnTo>
                  <a:pt x="346" y="2687"/>
                </a:lnTo>
                <a:lnTo>
                  <a:pt x="295" y="1435"/>
                </a:lnTo>
                <a:lnTo>
                  <a:pt x="350" y="1433"/>
                </a:lnTo>
                <a:lnTo>
                  <a:pt x="392" y="2458"/>
                </a:lnTo>
                <a:lnTo>
                  <a:pt x="1179" y="2458"/>
                </a:lnTo>
                <a:lnTo>
                  <a:pt x="1179" y="1078"/>
                </a:lnTo>
                <a:lnTo>
                  <a:pt x="1035" y="1040"/>
                </a:lnTo>
                <a:lnTo>
                  <a:pt x="1082" y="938"/>
                </a:lnTo>
                <a:lnTo>
                  <a:pt x="1212" y="975"/>
                </a:lnTo>
                <a:lnTo>
                  <a:pt x="1227" y="958"/>
                </a:lnTo>
                <a:lnTo>
                  <a:pt x="1243" y="945"/>
                </a:lnTo>
                <a:lnTo>
                  <a:pt x="1261" y="932"/>
                </a:lnTo>
                <a:lnTo>
                  <a:pt x="1282" y="920"/>
                </a:lnTo>
                <a:lnTo>
                  <a:pt x="1304" y="909"/>
                </a:lnTo>
                <a:lnTo>
                  <a:pt x="1327" y="899"/>
                </a:lnTo>
                <a:lnTo>
                  <a:pt x="1378" y="880"/>
                </a:lnTo>
                <a:lnTo>
                  <a:pt x="1777" y="735"/>
                </a:lnTo>
                <a:lnTo>
                  <a:pt x="1907" y="1502"/>
                </a:lnTo>
                <a:lnTo>
                  <a:pt x="1973" y="949"/>
                </a:lnTo>
                <a:lnTo>
                  <a:pt x="1956" y="940"/>
                </a:lnTo>
                <a:lnTo>
                  <a:pt x="1941" y="931"/>
                </a:lnTo>
                <a:lnTo>
                  <a:pt x="1929" y="918"/>
                </a:lnTo>
                <a:lnTo>
                  <a:pt x="1919" y="905"/>
                </a:lnTo>
                <a:lnTo>
                  <a:pt x="2018" y="810"/>
                </a:lnTo>
                <a:lnTo>
                  <a:pt x="2117" y="905"/>
                </a:lnTo>
                <a:lnTo>
                  <a:pt x="2108" y="918"/>
                </a:lnTo>
                <a:lnTo>
                  <a:pt x="2094" y="931"/>
                </a:lnTo>
                <a:lnTo>
                  <a:pt x="2080" y="940"/>
                </a:lnTo>
                <a:lnTo>
                  <a:pt x="2064" y="949"/>
                </a:lnTo>
                <a:lnTo>
                  <a:pt x="2130" y="1502"/>
                </a:lnTo>
                <a:lnTo>
                  <a:pt x="2259" y="735"/>
                </a:lnTo>
                <a:lnTo>
                  <a:pt x="2659" y="880"/>
                </a:lnTo>
                <a:lnTo>
                  <a:pt x="2698" y="895"/>
                </a:lnTo>
                <a:lnTo>
                  <a:pt x="2736" y="910"/>
                </a:lnTo>
                <a:lnTo>
                  <a:pt x="2754" y="920"/>
                </a:lnTo>
                <a:lnTo>
                  <a:pt x="2770" y="928"/>
                </a:lnTo>
                <a:lnTo>
                  <a:pt x="2785" y="938"/>
                </a:lnTo>
                <a:lnTo>
                  <a:pt x="2799" y="949"/>
                </a:lnTo>
                <a:lnTo>
                  <a:pt x="2811" y="960"/>
                </a:lnTo>
                <a:lnTo>
                  <a:pt x="2824" y="972"/>
                </a:lnTo>
                <a:lnTo>
                  <a:pt x="2833" y="986"/>
                </a:lnTo>
                <a:lnTo>
                  <a:pt x="2842" y="1001"/>
                </a:lnTo>
                <a:lnTo>
                  <a:pt x="2849" y="1018"/>
                </a:lnTo>
                <a:lnTo>
                  <a:pt x="2854" y="1034"/>
                </a:lnTo>
                <a:lnTo>
                  <a:pt x="2857" y="1053"/>
                </a:lnTo>
                <a:lnTo>
                  <a:pt x="2858" y="1074"/>
                </a:lnTo>
                <a:lnTo>
                  <a:pt x="2858" y="1084"/>
                </a:lnTo>
                <a:lnTo>
                  <a:pt x="3098" y="1022"/>
                </a:lnTo>
                <a:lnTo>
                  <a:pt x="3208" y="1458"/>
                </a:lnTo>
                <a:lnTo>
                  <a:pt x="3212" y="1468"/>
                </a:lnTo>
                <a:lnTo>
                  <a:pt x="3218" y="1478"/>
                </a:lnTo>
                <a:lnTo>
                  <a:pt x="3224" y="1484"/>
                </a:lnTo>
                <a:lnTo>
                  <a:pt x="3231" y="1491"/>
                </a:lnTo>
                <a:lnTo>
                  <a:pt x="3241" y="1495"/>
                </a:lnTo>
                <a:lnTo>
                  <a:pt x="3251" y="1500"/>
                </a:lnTo>
                <a:lnTo>
                  <a:pt x="3262" y="1501"/>
                </a:lnTo>
                <a:lnTo>
                  <a:pt x="3271" y="1502"/>
                </a:lnTo>
                <a:lnTo>
                  <a:pt x="3282" y="1501"/>
                </a:lnTo>
                <a:lnTo>
                  <a:pt x="3292" y="1500"/>
                </a:lnTo>
                <a:lnTo>
                  <a:pt x="3301" y="1495"/>
                </a:lnTo>
                <a:lnTo>
                  <a:pt x="3311" y="1491"/>
                </a:lnTo>
                <a:lnTo>
                  <a:pt x="3319" y="1484"/>
                </a:lnTo>
                <a:lnTo>
                  <a:pt x="3326" y="1478"/>
                </a:lnTo>
                <a:lnTo>
                  <a:pt x="3332" y="1468"/>
                </a:lnTo>
                <a:lnTo>
                  <a:pt x="3335" y="1458"/>
                </a:lnTo>
                <a:lnTo>
                  <a:pt x="3446" y="1016"/>
                </a:lnTo>
                <a:lnTo>
                  <a:pt x="3719" y="1115"/>
                </a:lnTo>
                <a:lnTo>
                  <a:pt x="3732" y="1121"/>
                </a:lnTo>
                <a:lnTo>
                  <a:pt x="3748" y="1128"/>
                </a:lnTo>
                <a:lnTo>
                  <a:pt x="3761" y="1136"/>
                </a:lnTo>
                <a:lnTo>
                  <a:pt x="3774" y="1144"/>
                </a:lnTo>
                <a:lnTo>
                  <a:pt x="3786" y="1154"/>
                </a:lnTo>
                <a:lnTo>
                  <a:pt x="3797" y="1164"/>
                </a:lnTo>
                <a:lnTo>
                  <a:pt x="3808" y="1173"/>
                </a:lnTo>
                <a:lnTo>
                  <a:pt x="3818" y="1186"/>
                </a:lnTo>
                <a:lnTo>
                  <a:pt x="3826" y="1197"/>
                </a:lnTo>
                <a:lnTo>
                  <a:pt x="3834" y="1209"/>
                </a:lnTo>
                <a:lnTo>
                  <a:pt x="3841" y="1223"/>
                </a:lnTo>
                <a:lnTo>
                  <a:pt x="3848" y="1235"/>
                </a:lnTo>
                <a:lnTo>
                  <a:pt x="3852" y="1250"/>
                </a:lnTo>
                <a:lnTo>
                  <a:pt x="3856" y="1264"/>
                </a:lnTo>
                <a:lnTo>
                  <a:pt x="3859" y="1279"/>
                </a:lnTo>
                <a:lnTo>
                  <a:pt x="3860" y="1294"/>
                </a:lnTo>
                <a:lnTo>
                  <a:pt x="3925" y="2429"/>
                </a:lnTo>
                <a:lnTo>
                  <a:pt x="3796" y="2777"/>
                </a:lnTo>
                <a:lnTo>
                  <a:pt x="3994" y="3791"/>
                </a:lnTo>
                <a:lnTo>
                  <a:pt x="3943" y="3791"/>
                </a:lnTo>
                <a:lnTo>
                  <a:pt x="3657" y="3791"/>
                </a:lnTo>
                <a:lnTo>
                  <a:pt x="3529" y="4711"/>
                </a:lnTo>
                <a:lnTo>
                  <a:pt x="3417" y="4711"/>
                </a:lnTo>
                <a:lnTo>
                  <a:pt x="3545" y="3791"/>
                </a:lnTo>
                <a:lnTo>
                  <a:pt x="3304" y="3791"/>
                </a:lnTo>
                <a:lnTo>
                  <a:pt x="3299" y="4711"/>
                </a:lnTo>
                <a:lnTo>
                  <a:pt x="3244" y="4711"/>
                </a:lnTo>
                <a:lnTo>
                  <a:pt x="3249" y="3791"/>
                </a:lnTo>
                <a:lnTo>
                  <a:pt x="2970" y="3791"/>
                </a:lnTo>
                <a:lnTo>
                  <a:pt x="3098" y="4711"/>
                </a:lnTo>
                <a:lnTo>
                  <a:pt x="3043" y="4711"/>
                </a:lnTo>
                <a:lnTo>
                  <a:pt x="2915" y="3791"/>
                </a:lnTo>
                <a:lnTo>
                  <a:pt x="2613" y="3791"/>
                </a:lnTo>
                <a:lnTo>
                  <a:pt x="2829" y="2740"/>
                </a:lnTo>
                <a:lnTo>
                  <a:pt x="2519" y="3130"/>
                </a:lnTo>
                <a:lnTo>
                  <a:pt x="2424" y="4704"/>
                </a:lnTo>
                <a:lnTo>
                  <a:pt x="2043" y="4704"/>
                </a:lnTo>
                <a:lnTo>
                  <a:pt x="2043" y="2839"/>
                </a:lnTo>
                <a:lnTo>
                  <a:pt x="1988" y="2839"/>
                </a:lnTo>
                <a:lnTo>
                  <a:pt x="1988" y="4704"/>
                </a:lnTo>
                <a:lnTo>
                  <a:pt x="1607" y="4704"/>
                </a:lnTo>
                <a:lnTo>
                  <a:pt x="1512" y="3123"/>
                </a:lnTo>
                <a:lnTo>
                  <a:pt x="1348" y="2916"/>
                </a:lnTo>
                <a:lnTo>
                  <a:pt x="1231" y="4700"/>
                </a:lnTo>
                <a:lnTo>
                  <a:pt x="865" y="4700"/>
                </a:lnTo>
                <a:lnTo>
                  <a:pt x="865" y="2839"/>
                </a:lnTo>
                <a:lnTo>
                  <a:pt x="810" y="2839"/>
                </a:lnTo>
                <a:lnTo>
                  <a:pt x="810" y="4700"/>
                </a:lnTo>
                <a:lnTo>
                  <a:pt x="423" y="4700"/>
                </a:lnTo>
                <a:lnTo>
                  <a:pt x="304" y="3207"/>
                </a:lnTo>
                <a:lnTo>
                  <a:pt x="112" y="2797"/>
                </a:lnTo>
                <a:lnTo>
                  <a:pt x="0" y="2797"/>
                </a:lnTo>
                <a:lnTo>
                  <a:pt x="52" y="1274"/>
                </a:lnTo>
                <a:lnTo>
                  <a:pt x="54" y="1257"/>
                </a:lnTo>
                <a:lnTo>
                  <a:pt x="56" y="1242"/>
                </a:lnTo>
                <a:lnTo>
                  <a:pt x="59" y="1227"/>
                </a:lnTo>
                <a:lnTo>
                  <a:pt x="65" y="1212"/>
                </a:lnTo>
                <a:lnTo>
                  <a:pt x="70" y="1197"/>
                </a:lnTo>
                <a:lnTo>
                  <a:pt x="78" y="1183"/>
                </a:lnTo>
                <a:lnTo>
                  <a:pt x="87" y="1169"/>
                </a:lnTo>
                <a:lnTo>
                  <a:pt x="95" y="1157"/>
                </a:lnTo>
                <a:lnTo>
                  <a:pt x="106" y="1144"/>
                </a:lnTo>
                <a:lnTo>
                  <a:pt x="117" y="1133"/>
                </a:lnTo>
                <a:lnTo>
                  <a:pt x="128" y="1122"/>
                </a:lnTo>
                <a:lnTo>
                  <a:pt x="140" y="1113"/>
                </a:lnTo>
                <a:lnTo>
                  <a:pt x="154" y="1103"/>
                </a:lnTo>
                <a:lnTo>
                  <a:pt x="168" y="1096"/>
                </a:lnTo>
                <a:lnTo>
                  <a:pt x="183" y="1089"/>
                </a:lnTo>
                <a:lnTo>
                  <a:pt x="198" y="1084"/>
                </a:lnTo>
                <a:lnTo>
                  <a:pt x="596" y="951"/>
                </a:lnTo>
                <a:lnTo>
                  <a:pt x="643" y="1052"/>
                </a:lnTo>
                <a:lnTo>
                  <a:pt x="233" y="1188"/>
                </a:lnTo>
                <a:lnTo>
                  <a:pt x="218" y="1194"/>
                </a:lnTo>
                <a:lnTo>
                  <a:pt x="205" y="1202"/>
                </a:lnTo>
                <a:lnTo>
                  <a:pt x="193" y="1212"/>
                </a:lnTo>
                <a:lnTo>
                  <a:pt x="183" y="1224"/>
                </a:lnTo>
                <a:lnTo>
                  <a:pt x="175" y="1237"/>
                </a:lnTo>
                <a:lnTo>
                  <a:pt x="168" y="1249"/>
                </a:lnTo>
                <a:lnTo>
                  <a:pt x="164" y="1263"/>
                </a:lnTo>
                <a:lnTo>
                  <a:pt x="162" y="1278"/>
                </a:lnTo>
                <a:lnTo>
                  <a:pt x="114" y="2687"/>
                </a:lnTo>
                <a:close/>
                <a:moveTo>
                  <a:pt x="348" y="2742"/>
                </a:moveTo>
                <a:lnTo>
                  <a:pt x="205" y="2742"/>
                </a:lnTo>
                <a:lnTo>
                  <a:pt x="362" y="3069"/>
                </a:lnTo>
                <a:lnTo>
                  <a:pt x="348" y="2742"/>
                </a:lnTo>
                <a:close/>
                <a:moveTo>
                  <a:pt x="2211" y="209"/>
                </a:moveTo>
                <a:lnTo>
                  <a:pt x="2211" y="209"/>
                </a:lnTo>
                <a:lnTo>
                  <a:pt x="2206" y="194"/>
                </a:lnTo>
                <a:lnTo>
                  <a:pt x="2197" y="180"/>
                </a:lnTo>
                <a:lnTo>
                  <a:pt x="2188" y="167"/>
                </a:lnTo>
                <a:lnTo>
                  <a:pt x="2178" y="154"/>
                </a:lnTo>
                <a:lnTo>
                  <a:pt x="2168" y="143"/>
                </a:lnTo>
                <a:lnTo>
                  <a:pt x="2156" y="134"/>
                </a:lnTo>
                <a:lnTo>
                  <a:pt x="2145" y="125"/>
                </a:lnTo>
                <a:lnTo>
                  <a:pt x="2133" y="117"/>
                </a:lnTo>
                <a:lnTo>
                  <a:pt x="2122" y="132"/>
                </a:lnTo>
                <a:lnTo>
                  <a:pt x="2108" y="146"/>
                </a:lnTo>
                <a:lnTo>
                  <a:pt x="2094" y="158"/>
                </a:lnTo>
                <a:lnTo>
                  <a:pt x="2079" y="168"/>
                </a:lnTo>
                <a:lnTo>
                  <a:pt x="2064" y="176"/>
                </a:lnTo>
                <a:lnTo>
                  <a:pt x="2046" y="183"/>
                </a:lnTo>
                <a:lnTo>
                  <a:pt x="2029" y="186"/>
                </a:lnTo>
                <a:lnTo>
                  <a:pt x="2010" y="187"/>
                </a:lnTo>
                <a:lnTo>
                  <a:pt x="1992" y="186"/>
                </a:lnTo>
                <a:lnTo>
                  <a:pt x="1976" y="183"/>
                </a:lnTo>
                <a:lnTo>
                  <a:pt x="1959" y="178"/>
                </a:lnTo>
                <a:lnTo>
                  <a:pt x="1944" y="169"/>
                </a:lnTo>
                <a:lnTo>
                  <a:pt x="1929" y="160"/>
                </a:lnTo>
                <a:lnTo>
                  <a:pt x="1915" y="149"/>
                </a:lnTo>
                <a:lnTo>
                  <a:pt x="1903" y="136"/>
                </a:lnTo>
                <a:lnTo>
                  <a:pt x="1892" y="123"/>
                </a:lnTo>
                <a:lnTo>
                  <a:pt x="1881" y="129"/>
                </a:lnTo>
                <a:lnTo>
                  <a:pt x="1870" y="138"/>
                </a:lnTo>
                <a:lnTo>
                  <a:pt x="1859" y="147"/>
                </a:lnTo>
                <a:lnTo>
                  <a:pt x="1849" y="158"/>
                </a:lnTo>
                <a:lnTo>
                  <a:pt x="1841" y="171"/>
                </a:lnTo>
                <a:lnTo>
                  <a:pt x="1832" y="183"/>
                </a:lnTo>
                <a:lnTo>
                  <a:pt x="1826" y="197"/>
                </a:lnTo>
                <a:lnTo>
                  <a:pt x="1819" y="211"/>
                </a:lnTo>
                <a:lnTo>
                  <a:pt x="1815" y="227"/>
                </a:lnTo>
                <a:lnTo>
                  <a:pt x="1810" y="242"/>
                </a:lnTo>
                <a:lnTo>
                  <a:pt x="1808" y="259"/>
                </a:lnTo>
                <a:lnTo>
                  <a:pt x="1806" y="277"/>
                </a:lnTo>
                <a:lnTo>
                  <a:pt x="1806" y="365"/>
                </a:lnTo>
                <a:lnTo>
                  <a:pt x="1808" y="390"/>
                </a:lnTo>
                <a:lnTo>
                  <a:pt x="1810" y="414"/>
                </a:lnTo>
                <a:lnTo>
                  <a:pt x="1816" y="437"/>
                </a:lnTo>
                <a:lnTo>
                  <a:pt x="1823" y="460"/>
                </a:lnTo>
                <a:lnTo>
                  <a:pt x="1832" y="481"/>
                </a:lnTo>
                <a:lnTo>
                  <a:pt x="1842" y="500"/>
                </a:lnTo>
                <a:lnTo>
                  <a:pt x="1855" y="519"/>
                </a:lnTo>
                <a:lnTo>
                  <a:pt x="1868" y="536"/>
                </a:lnTo>
                <a:lnTo>
                  <a:pt x="1883" y="551"/>
                </a:lnTo>
                <a:lnTo>
                  <a:pt x="1900" y="565"/>
                </a:lnTo>
                <a:lnTo>
                  <a:pt x="1916" y="576"/>
                </a:lnTo>
                <a:lnTo>
                  <a:pt x="1936" y="587"/>
                </a:lnTo>
                <a:lnTo>
                  <a:pt x="1955" y="593"/>
                </a:lnTo>
                <a:lnTo>
                  <a:pt x="1974" y="599"/>
                </a:lnTo>
                <a:lnTo>
                  <a:pt x="1995" y="603"/>
                </a:lnTo>
                <a:lnTo>
                  <a:pt x="2016" y="604"/>
                </a:lnTo>
                <a:lnTo>
                  <a:pt x="2036" y="603"/>
                </a:lnTo>
                <a:lnTo>
                  <a:pt x="2057" y="599"/>
                </a:lnTo>
                <a:lnTo>
                  <a:pt x="2076" y="593"/>
                </a:lnTo>
                <a:lnTo>
                  <a:pt x="2095" y="587"/>
                </a:lnTo>
                <a:lnTo>
                  <a:pt x="2115" y="576"/>
                </a:lnTo>
                <a:lnTo>
                  <a:pt x="2131" y="565"/>
                </a:lnTo>
                <a:lnTo>
                  <a:pt x="2148" y="551"/>
                </a:lnTo>
                <a:lnTo>
                  <a:pt x="2163" y="536"/>
                </a:lnTo>
                <a:lnTo>
                  <a:pt x="2177" y="519"/>
                </a:lnTo>
                <a:lnTo>
                  <a:pt x="2189" y="500"/>
                </a:lnTo>
                <a:lnTo>
                  <a:pt x="2199" y="481"/>
                </a:lnTo>
                <a:lnTo>
                  <a:pt x="2208" y="460"/>
                </a:lnTo>
                <a:lnTo>
                  <a:pt x="2215" y="437"/>
                </a:lnTo>
                <a:lnTo>
                  <a:pt x="2221" y="414"/>
                </a:lnTo>
                <a:lnTo>
                  <a:pt x="2223" y="390"/>
                </a:lnTo>
                <a:lnTo>
                  <a:pt x="2225" y="365"/>
                </a:lnTo>
                <a:lnTo>
                  <a:pt x="2225" y="281"/>
                </a:lnTo>
                <a:lnTo>
                  <a:pt x="2223" y="262"/>
                </a:lnTo>
                <a:lnTo>
                  <a:pt x="2221" y="244"/>
                </a:lnTo>
                <a:lnTo>
                  <a:pt x="2217" y="226"/>
                </a:lnTo>
                <a:lnTo>
                  <a:pt x="2211" y="209"/>
                </a:lnTo>
                <a:close/>
                <a:moveTo>
                  <a:pt x="2016" y="0"/>
                </a:moveTo>
                <a:lnTo>
                  <a:pt x="2016" y="0"/>
                </a:lnTo>
                <a:lnTo>
                  <a:pt x="2043" y="1"/>
                </a:lnTo>
                <a:lnTo>
                  <a:pt x="2069" y="6"/>
                </a:lnTo>
                <a:lnTo>
                  <a:pt x="2095" y="14"/>
                </a:lnTo>
                <a:lnTo>
                  <a:pt x="2120" y="23"/>
                </a:lnTo>
                <a:lnTo>
                  <a:pt x="2144" y="36"/>
                </a:lnTo>
                <a:lnTo>
                  <a:pt x="2164" y="51"/>
                </a:lnTo>
                <a:lnTo>
                  <a:pt x="2185" y="67"/>
                </a:lnTo>
                <a:lnTo>
                  <a:pt x="2204" y="87"/>
                </a:lnTo>
                <a:lnTo>
                  <a:pt x="2221" y="109"/>
                </a:lnTo>
                <a:lnTo>
                  <a:pt x="2236" y="131"/>
                </a:lnTo>
                <a:lnTo>
                  <a:pt x="2248" y="156"/>
                </a:lnTo>
                <a:lnTo>
                  <a:pt x="2259" y="182"/>
                </a:lnTo>
                <a:lnTo>
                  <a:pt x="2269" y="208"/>
                </a:lnTo>
                <a:lnTo>
                  <a:pt x="2274" y="235"/>
                </a:lnTo>
                <a:lnTo>
                  <a:pt x="2279" y="264"/>
                </a:lnTo>
                <a:lnTo>
                  <a:pt x="2280" y="295"/>
                </a:lnTo>
                <a:lnTo>
                  <a:pt x="2280" y="365"/>
                </a:lnTo>
                <a:lnTo>
                  <a:pt x="2279" y="394"/>
                </a:lnTo>
                <a:lnTo>
                  <a:pt x="2274" y="423"/>
                </a:lnTo>
                <a:lnTo>
                  <a:pt x="2269" y="452"/>
                </a:lnTo>
                <a:lnTo>
                  <a:pt x="2259" y="478"/>
                </a:lnTo>
                <a:lnTo>
                  <a:pt x="2248" y="504"/>
                </a:lnTo>
                <a:lnTo>
                  <a:pt x="2236" y="527"/>
                </a:lnTo>
                <a:lnTo>
                  <a:pt x="2221" y="551"/>
                </a:lnTo>
                <a:lnTo>
                  <a:pt x="2204" y="571"/>
                </a:lnTo>
                <a:lnTo>
                  <a:pt x="2185" y="591"/>
                </a:lnTo>
                <a:lnTo>
                  <a:pt x="2164" y="609"/>
                </a:lnTo>
                <a:lnTo>
                  <a:pt x="2144" y="624"/>
                </a:lnTo>
                <a:lnTo>
                  <a:pt x="2120" y="636"/>
                </a:lnTo>
                <a:lnTo>
                  <a:pt x="2095" y="646"/>
                </a:lnTo>
                <a:lnTo>
                  <a:pt x="2069" y="653"/>
                </a:lnTo>
                <a:lnTo>
                  <a:pt x="2043" y="658"/>
                </a:lnTo>
                <a:lnTo>
                  <a:pt x="2016" y="660"/>
                </a:lnTo>
                <a:lnTo>
                  <a:pt x="1988" y="658"/>
                </a:lnTo>
                <a:lnTo>
                  <a:pt x="1962" y="653"/>
                </a:lnTo>
                <a:lnTo>
                  <a:pt x="1936" y="646"/>
                </a:lnTo>
                <a:lnTo>
                  <a:pt x="1911" y="636"/>
                </a:lnTo>
                <a:lnTo>
                  <a:pt x="1888" y="624"/>
                </a:lnTo>
                <a:lnTo>
                  <a:pt x="1867" y="609"/>
                </a:lnTo>
                <a:lnTo>
                  <a:pt x="1846" y="591"/>
                </a:lnTo>
                <a:lnTo>
                  <a:pt x="1827" y="571"/>
                </a:lnTo>
                <a:lnTo>
                  <a:pt x="1810" y="551"/>
                </a:lnTo>
                <a:lnTo>
                  <a:pt x="1795" y="527"/>
                </a:lnTo>
                <a:lnTo>
                  <a:pt x="1783" y="504"/>
                </a:lnTo>
                <a:lnTo>
                  <a:pt x="1772" y="478"/>
                </a:lnTo>
                <a:lnTo>
                  <a:pt x="1762" y="452"/>
                </a:lnTo>
                <a:lnTo>
                  <a:pt x="1757" y="423"/>
                </a:lnTo>
                <a:lnTo>
                  <a:pt x="1753" y="394"/>
                </a:lnTo>
                <a:lnTo>
                  <a:pt x="1751" y="365"/>
                </a:lnTo>
                <a:lnTo>
                  <a:pt x="1751" y="295"/>
                </a:lnTo>
                <a:lnTo>
                  <a:pt x="1753" y="264"/>
                </a:lnTo>
                <a:lnTo>
                  <a:pt x="1757" y="235"/>
                </a:lnTo>
                <a:lnTo>
                  <a:pt x="1762" y="208"/>
                </a:lnTo>
                <a:lnTo>
                  <a:pt x="1772" y="182"/>
                </a:lnTo>
                <a:lnTo>
                  <a:pt x="1783" y="156"/>
                </a:lnTo>
                <a:lnTo>
                  <a:pt x="1795" y="131"/>
                </a:lnTo>
                <a:lnTo>
                  <a:pt x="1810" y="109"/>
                </a:lnTo>
                <a:lnTo>
                  <a:pt x="1827" y="87"/>
                </a:lnTo>
                <a:lnTo>
                  <a:pt x="1846" y="67"/>
                </a:lnTo>
                <a:lnTo>
                  <a:pt x="1867" y="51"/>
                </a:lnTo>
                <a:lnTo>
                  <a:pt x="1888" y="36"/>
                </a:lnTo>
                <a:lnTo>
                  <a:pt x="1911" y="23"/>
                </a:lnTo>
                <a:lnTo>
                  <a:pt x="1936" y="14"/>
                </a:lnTo>
                <a:lnTo>
                  <a:pt x="1962" y="6"/>
                </a:lnTo>
                <a:lnTo>
                  <a:pt x="1988" y="1"/>
                </a:lnTo>
                <a:lnTo>
                  <a:pt x="2016" y="0"/>
                </a:lnTo>
                <a:close/>
                <a:moveTo>
                  <a:pt x="3508" y="792"/>
                </a:moveTo>
                <a:lnTo>
                  <a:pt x="3508" y="792"/>
                </a:lnTo>
                <a:lnTo>
                  <a:pt x="3526" y="800"/>
                </a:lnTo>
                <a:lnTo>
                  <a:pt x="3547" y="806"/>
                </a:lnTo>
                <a:lnTo>
                  <a:pt x="3567" y="808"/>
                </a:lnTo>
                <a:lnTo>
                  <a:pt x="3588" y="808"/>
                </a:lnTo>
                <a:lnTo>
                  <a:pt x="3591" y="807"/>
                </a:lnTo>
                <a:lnTo>
                  <a:pt x="3588" y="819"/>
                </a:lnTo>
                <a:lnTo>
                  <a:pt x="3585" y="830"/>
                </a:lnTo>
                <a:lnTo>
                  <a:pt x="3581" y="841"/>
                </a:lnTo>
                <a:lnTo>
                  <a:pt x="3577" y="852"/>
                </a:lnTo>
                <a:lnTo>
                  <a:pt x="3571" y="862"/>
                </a:lnTo>
                <a:lnTo>
                  <a:pt x="3564" y="872"/>
                </a:lnTo>
                <a:lnTo>
                  <a:pt x="3558" y="881"/>
                </a:lnTo>
                <a:lnTo>
                  <a:pt x="3549" y="890"/>
                </a:lnTo>
                <a:lnTo>
                  <a:pt x="3541" y="896"/>
                </a:lnTo>
                <a:lnTo>
                  <a:pt x="3533" y="903"/>
                </a:lnTo>
                <a:lnTo>
                  <a:pt x="3523" y="910"/>
                </a:lnTo>
                <a:lnTo>
                  <a:pt x="3512" y="914"/>
                </a:lnTo>
                <a:lnTo>
                  <a:pt x="3501" y="920"/>
                </a:lnTo>
                <a:lnTo>
                  <a:pt x="3490" y="923"/>
                </a:lnTo>
                <a:lnTo>
                  <a:pt x="3479" y="925"/>
                </a:lnTo>
                <a:lnTo>
                  <a:pt x="3467" y="927"/>
                </a:lnTo>
                <a:lnTo>
                  <a:pt x="3446" y="927"/>
                </a:lnTo>
                <a:lnTo>
                  <a:pt x="3425" y="924"/>
                </a:lnTo>
                <a:lnTo>
                  <a:pt x="3406" y="920"/>
                </a:lnTo>
                <a:lnTo>
                  <a:pt x="3388" y="912"/>
                </a:lnTo>
                <a:lnTo>
                  <a:pt x="3374" y="920"/>
                </a:lnTo>
                <a:lnTo>
                  <a:pt x="3359" y="927"/>
                </a:lnTo>
                <a:lnTo>
                  <a:pt x="3346" y="934"/>
                </a:lnTo>
                <a:lnTo>
                  <a:pt x="3329" y="938"/>
                </a:lnTo>
                <a:lnTo>
                  <a:pt x="3314" y="942"/>
                </a:lnTo>
                <a:lnTo>
                  <a:pt x="3297" y="945"/>
                </a:lnTo>
                <a:lnTo>
                  <a:pt x="3281" y="947"/>
                </a:lnTo>
                <a:lnTo>
                  <a:pt x="3264" y="947"/>
                </a:lnTo>
                <a:lnTo>
                  <a:pt x="3248" y="947"/>
                </a:lnTo>
                <a:lnTo>
                  <a:pt x="3231" y="945"/>
                </a:lnTo>
                <a:lnTo>
                  <a:pt x="3215" y="942"/>
                </a:lnTo>
                <a:lnTo>
                  <a:pt x="3200" y="938"/>
                </a:lnTo>
                <a:lnTo>
                  <a:pt x="3184" y="934"/>
                </a:lnTo>
                <a:lnTo>
                  <a:pt x="3169" y="927"/>
                </a:lnTo>
                <a:lnTo>
                  <a:pt x="3154" y="920"/>
                </a:lnTo>
                <a:lnTo>
                  <a:pt x="3140" y="912"/>
                </a:lnTo>
                <a:lnTo>
                  <a:pt x="3123" y="920"/>
                </a:lnTo>
                <a:lnTo>
                  <a:pt x="3103" y="924"/>
                </a:lnTo>
                <a:lnTo>
                  <a:pt x="3083" y="927"/>
                </a:lnTo>
                <a:lnTo>
                  <a:pt x="3063" y="927"/>
                </a:lnTo>
                <a:lnTo>
                  <a:pt x="3051" y="925"/>
                </a:lnTo>
                <a:lnTo>
                  <a:pt x="3039" y="923"/>
                </a:lnTo>
                <a:lnTo>
                  <a:pt x="3028" y="920"/>
                </a:lnTo>
                <a:lnTo>
                  <a:pt x="3016" y="914"/>
                </a:lnTo>
                <a:lnTo>
                  <a:pt x="3007" y="910"/>
                </a:lnTo>
                <a:lnTo>
                  <a:pt x="2997" y="903"/>
                </a:lnTo>
                <a:lnTo>
                  <a:pt x="2988" y="896"/>
                </a:lnTo>
                <a:lnTo>
                  <a:pt x="2979" y="890"/>
                </a:lnTo>
                <a:lnTo>
                  <a:pt x="2971" y="881"/>
                </a:lnTo>
                <a:lnTo>
                  <a:pt x="2964" y="872"/>
                </a:lnTo>
                <a:lnTo>
                  <a:pt x="2957" y="862"/>
                </a:lnTo>
                <a:lnTo>
                  <a:pt x="2952" y="852"/>
                </a:lnTo>
                <a:lnTo>
                  <a:pt x="2948" y="841"/>
                </a:lnTo>
                <a:lnTo>
                  <a:pt x="2944" y="830"/>
                </a:lnTo>
                <a:lnTo>
                  <a:pt x="2941" y="819"/>
                </a:lnTo>
                <a:lnTo>
                  <a:pt x="2939" y="807"/>
                </a:lnTo>
                <a:lnTo>
                  <a:pt x="2941" y="808"/>
                </a:lnTo>
                <a:lnTo>
                  <a:pt x="2963" y="808"/>
                </a:lnTo>
                <a:lnTo>
                  <a:pt x="2982" y="806"/>
                </a:lnTo>
                <a:lnTo>
                  <a:pt x="3003" y="800"/>
                </a:lnTo>
                <a:lnTo>
                  <a:pt x="3022" y="792"/>
                </a:lnTo>
                <a:lnTo>
                  <a:pt x="3012" y="777"/>
                </a:lnTo>
                <a:lnTo>
                  <a:pt x="3004" y="761"/>
                </a:lnTo>
                <a:lnTo>
                  <a:pt x="2997" y="745"/>
                </a:lnTo>
                <a:lnTo>
                  <a:pt x="2992" y="726"/>
                </a:lnTo>
                <a:lnTo>
                  <a:pt x="2988" y="706"/>
                </a:lnTo>
                <a:lnTo>
                  <a:pt x="2983" y="687"/>
                </a:lnTo>
                <a:lnTo>
                  <a:pt x="2982" y="665"/>
                </a:lnTo>
                <a:lnTo>
                  <a:pt x="2981" y="642"/>
                </a:lnTo>
                <a:lnTo>
                  <a:pt x="2981" y="574"/>
                </a:lnTo>
                <a:lnTo>
                  <a:pt x="2982" y="541"/>
                </a:lnTo>
                <a:lnTo>
                  <a:pt x="2986" y="508"/>
                </a:lnTo>
                <a:lnTo>
                  <a:pt x="2993" y="475"/>
                </a:lnTo>
                <a:lnTo>
                  <a:pt x="3003" y="445"/>
                </a:lnTo>
                <a:lnTo>
                  <a:pt x="3014" y="414"/>
                </a:lnTo>
                <a:lnTo>
                  <a:pt x="3028" y="387"/>
                </a:lnTo>
                <a:lnTo>
                  <a:pt x="3044" y="361"/>
                </a:lnTo>
                <a:lnTo>
                  <a:pt x="3062" y="336"/>
                </a:lnTo>
                <a:lnTo>
                  <a:pt x="3083" y="314"/>
                </a:lnTo>
                <a:lnTo>
                  <a:pt x="3103" y="293"/>
                </a:lnTo>
                <a:lnTo>
                  <a:pt x="3127" y="275"/>
                </a:lnTo>
                <a:lnTo>
                  <a:pt x="3151" y="262"/>
                </a:lnTo>
                <a:lnTo>
                  <a:pt x="3165" y="255"/>
                </a:lnTo>
                <a:lnTo>
                  <a:pt x="3178" y="249"/>
                </a:lnTo>
                <a:lnTo>
                  <a:pt x="3191" y="245"/>
                </a:lnTo>
                <a:lnTo>
                  <a:pt x="3205" y="241"/>
                </a:lnTo>
                <a:lnTo>
                  <a:pt x="3220" y="237"/>
                </a:lnTo>
                <a:lnTo>
                  <a:pt x="3234" y="235"/>
                </a:lnTo>
                <a:lnTo>
                  <a:pt x="3249" y="234"/>
                </a:lnTo>
                <a:lnTo>
                  <a:pt x="3264" y="233"/>
                </a:lnTo>
                <a:lnTo>
                  <a:pt x="3279" y="234"/>
                </a:lnTo>
                <a:lnTo>
                  <a:pt x="3295" y="235"/>
                </a:lnTo>
                <a:lnTo>
                  <a:pt x="3308" y="237"/>
                </a:lnTo>
                <a:lnTo>
                  <a:pt x="3324" y="241"/>
                </a:lnTo>
                <a:lnTo>
                  <a:pt x="3337" y="245"/>
                </a:lnTo>
                <a:lnTo>
                  <a:pt x="3351" y="249"/>
                </a:lnTo>
                <a:lnTo>
                  <a:pt x="3365" y="255"/>
                </a:lnTo>
                <a:lnTo>
                  <a:pt x="3377" y="262"/>
                </a:lnTo>
                <a:lnTo>
                  <a:pt x="3402" y="275"/>
                </a:lnTo>
                <a:lnTo>
                  <a:pt x="3425" y="293"/>
                </a:lnTo>
                <a:lnTo>
                  <a:pt x="3447" y="314"/>
                </a:lnTo>
                <a:lnTo>
                  <a:pt x="3467" y="336"/>
                </a:lnTo>
                <a:lnTo>
                  <a:pt x="3485" y="361"/>
                </a:lnTo>
                <a:lnTo>
                  <a:pt x="3501" y="387"/>
                </a:lnTo>
                <a:lnTo>
                  <a:pt x="3515" y="414"/>
                </a:lnTo>
                <a:lnTo>
                  <a:pt x="3526" y="445"/>
                </a:lnTo>
                <a:lnTo>
                  <a:pt x="3536" y="475"/>
                </a:lnTo>
                <a:lnTo>
                  <a:pt x="3542" y="508"/>
                </a:lnTo>
                <a:lnTo>
                  <a:pt x="3547" y="541"/>
                </a:lnTo>
                <a:lnTo>
                  <a:pt x="3548" y="574"/>
                </a:lnTo>
                <a:lnTo>
                  <a:pt x="3548" y="642"/>
                </a:lnTo>
                <a:lnTo>
                  <a:pt x="3547" y="665"/>
                </a:lnTo>
                <a:lnTo>
                  <a:pt x="3545" y="687"/>
                </a:lnTo>
                <a:lnTo>
                  <a:pt x="3541" y="706"/>
                </a:lnTo>
                <a:lnTo>
                  <a:pt x="3537" y="726"/>
                </a:lnTo>
                <a:lnTo>
                  <a:pt x="3531" y="745"/>
                </a:lnTo>
                <a:lnTo>
                  <a:pt x="3525" y="761"/>
                </a:lnTo>
                <a:lnTo>
                  <a:pt x="3516" y="777"/>
                </a:lnTo>
                <a:lnTo>
                  <a:pt x="3508" y="792"/>
                </a:lnTo>
                <a:close/>
                <a:moveTo>
                  <a:pt x="3385" y="406"/>
                </a:moveTo>
                <a:lnTo>
                  <a:pt x="3385" y="406"/>
                </a:lnTo>
                <a:lnTo>
                  <a:pt x="3376" y="424"/>
                </a:lnTo>
                <a:lnTo>
                  <a:pt x="3365" y="441"/>
                </a:lnTo>
                <a:lnTo>
                  <a:pt x="3352" y="456"/>
                </a:lnTo>
                <a:lnTo>
                  <a:pt x="3340" y="471"/>
                </a:lnTo>
                <a:lnTo>
                  <a:pt x="3326" y="486"/>
                </a:lnTo>
                <a:lnTo>
                  <a:pt x="3311" y="498"/>
                </a:lnTo>
                <a:lnTo>
                  <a:pt x="3295" y="511"/>
                </a:lnTo>
                <a:lnTo>
                  <a:pt x="3278" y="522"/>
                </a:lnTo>
                <a:lnTo>
                  <a:pt x="3260" y="532"/>
                </a:lnTo>
                <a:lnTo>
                  <a:pt x="3242" y="541"/>
                </a:lnTo>
                <a:lnTo>
                  <a:pt x="3224" y="548"/>
                </a:lnTo>
                <a:lnTo>
                  <a:pt x="3205" y="555"/>
                </a:lnTo>
                <a:lnTo>
                  <a:pt x="3184" y="559"/>
                </a:lnTo>
                <a:lnTo>
                  <a:pt x="3164" y="563"/>
                </a:lnTo>
                <a:lnTo>
                  <a:pt x="3143" y="566"/>
                </a:lnTo>
                <a:lnTo>
                  <a:pt x="3123" y="566"/>
                </a:lnTo>
                <a:lnTo>
                  <a:pt x="3095" y="565"/>
                </a:lnTo>
                <a:lnTo>
                  <a:pt x="3067" y="562"/>
                </a:lnTo>
                <a:lnTo>
                  <a:pt x="3066" y="585"/>
                </a:lnTo>
                <a:lnTo>
                  <a:pt x="3066" y="665"/>
                </a:lnTo>
                <a:lnTo>
                  <a:pt x="3067" y="690"/>
                </a:lnTo>
                <a:lnTo>
                  <a:pt x="3070" y="712"/>
                </a:lnTo>
                <a:lnTo>
                  <a:pt x="3076" y="734"/>
                </a:lnTo>
                <a:lnTo>
                  <a:pt x="3083" y="755"/>
                </a:lnTo>
                <a:lnTo>
                  <a:pt x="3091" y="775"/>
                </a:lnTo>
                <a:lnTo>
                  <a:pt x="3100" y="793"/>
                </a:lnTo>
                <a:lnTo>
                  <a:pt x="3113" y="811"/>
                </a:lnTo>
                <a:lnTo>
                  <a:pt x="3125" y="828"/>
                </a:lnTo>
                <a:lnTo>
                  <a:pt x="3139" y="841"/>
                </a:lnTo>
                <a:lnTo>
                  <a:pt x="3156" y="855"/>
                </a:lnTo>
                <a:lnTo>
                  <a:pt x="3171" y="866"/>
                </a:lnTo>
                <a:lnTo>
                  <a:pt x="3189" y="874"/>
                </a:lnTo>
                <a:lnTo>
                  <a:pt x="3206" y="883"/>
                </a:lnTo>
                <a:lnTo>
                  <a:pt x="3226" y="888"/>
                </a:lnTo>
                <a:lnTo>
                  <a:pt x="3245" y="891"/>
                </a:lnTo>
                <a:lnTo>
                  <a:pt x="3264" y="892"/>
                </a:lnTo>
                <a:lnTo>
                  <a:pt x="3284" y="891"/>
                </a:lnTo>
                <a:lnTo>
                  <a:pt x="3303" y="888"/>
                </a:lnTo>
                <a:lnTo>
                  <a:pt x="3322" y="883"/>
                </a:lnTo>
                <a:lnTo>
                  <a:pt x="3340" y="874"/>
                </a:lnTo>
                <a:lnTo>
                  <a:pt x="3358" y="866"/>
                </a:lnTo>
                <a:lnTo>
                  <a:pt x="3374" y="855"/>
                </a:lnTo>
                <a:lnTo>
                  <a:pt x="3390" y="841"/>
                </a:lnTo>
                <a:lnTo>
                  <a:pt x="3403" y="828"/>
                </a:lnTo>
                <a:lnTo>
                  <a:pt x="3416" y="811"/>
                </a:lnTo>
                <a:lnTo>
                  <a:pt x="3428" y="793"/>
                </a:lnTo>
                <a:lnTo>
                  <a:pt x="3438" y="775"/>
                </a:lnTo>
                <a:lnTo>
                  <a:pt x="3446" y="755"/>
                </a:lnTo>
                <a:lnTo>
                  <a:pt x="3453" y="734"/>
                </a:lnTo>
                <a:lnTo>
                  <a:pt x="3458" y="712"/>
                </a:lnTo>
                <a:lnTo>
                  <a:pt x="3461" y="690"/>
                </a:lnTo>
                <a:lnTo>
                  <a:pt x="3463" y="665"/>
                </a:lnTo>
                <a:lnTo>
                  <a:pt x="3463" y="585"/>
                </a:lnTo>
                <a:lnTo>
                  <a:pt x="3461" y="558"/>
                </a:lnTo>
                <a:lnTo>
                  <a:pt x="3457" y="532"/>
                </a:lnTo>
                <a:lnTo>
                  <a:pt x="3450" y="507"/>
                </a:lnTo>
                <a:lnTo>
                  <a:pt x="3442" y="483"/>
                </a:lnTo>
                <a:lnTo>
                  <a:pt x="3431" y="461"/>
                </a:lnTo>
                <a:lnTo>
                  <a:pt x="3417" y="441"/>
                </a:lnTo>
                <a:lnTo>
                  <a:pt x="3402" y="423"/>
                </a:lnTo>
                <a:lnTo>
                  <a:pt x="3385" y="406"/>
                </a:lnTo>
                <a:close/>
                <a:moveTo>
                  <a:pt x="186" y="2587"/>
                </a:moveTo>
                <a:lnTo>
                  <a:pt x="186" y="2587"/>
                </a:lnTo>
                <a:lnTo>
                  <a:pt x="186" y="2579"/>
                </a:lnTo>
                <a:lnTo>
                  <a:pt x="189" y="2572"/>
                </a:lnTo>
                <a:lnTo>
                  <a:pt x="193" y="2565"/>
                </a:lnTo>
                <a:lnTo>
                  <a:pt x="197" y="2560"/>
                </a:lnTo>
                <a:lnTo>
                  <a:pt x="202" y="2556"/>
                </a:lnTo>
                <a:lnTo>
                  <a:pt x="209" y="2552"/>
                </a:lnTo>
                <a:lnTo>
                  <a:pt x="216" y="2550"/>
                </a:lnTo>
                <a:lnTo>
                  <a:pt x="223" y="2549"/>
                </a:lnTo>
                <a:lnTo>
                  <a:pt x="231" y="2550"/>
                </a:lnTo>
                <a:lnTo>
                  <a:pt x="238" y="2552"/>
                </a:lnTo>
                <a:lnTo>
                  <a:pt x="244" y="2556"/>
                </a:lnTo>
                <a:lnTo>
                  <a:pt x="249" y="2560"/>
                </a:lnTo>
                <a:lnTo>
                  <a:pt x="255" y="2565"/>
                </a:lnTo>
                <a:lnTo>
                  <a:pt x="257" y="2572"/>
                </a:lnTo>
                <a:lnTo>
                  <a:pt x="260" y="2579"/>
                </a:lnTo>
                <a:lnTo>
                  <a:pt x="260" y="2587"/>
                </a:lnTo>
                <a:lnTo>
                  <a:pt x="260" y="2594"/>
                </a:lnTo>
                <a:lnTo>
                  <a:pt x="257" y="2601"/>
                </a:lnTo>
                <a:lnTo>
                  <a:pt x="255" y="2608"/>
                </a:lnTo>
                <a:lnTo>
                  <a:pt x="249" y="2614"/>
                </a:lnTo>
                <a:lnTo>
                  <a:pt x="244" y="2618"/>
                </a:lnTo>
                <a:lnTo>
                  <a:pt x="238" y="2622"/>
                </a:lnTo>
                <a:lnTo>
                  <a:pt x="231" y="2623"/>
                </a:lnTo>
                <a:lnTo>
                  <a:pt x="223" y="2625"/>
                </a:lnTo>
                <a:lnTo>
                  <a:pt x="216" y="2623"/>
                </a:lnTo>
                <a:lnTo>
                  <a:pt x="209" y="2622"/>
                </a:lnTo>
                <a:lnTo>
                  <a:pt x="202" y="2618"/>
                </a:lnTo>
                <a:lnTo>
                  <a:pt x="197" y="2614"/>
                </a:lnTo>
                <a:lnTo>
                  <a:pt x="193" y="2608"/>
                </a:lnTo>
                <a:lnTo>
                  <a:pt x="189" y="2601"/>
                </a:lnTo>
                <a:lnTo>
                  <a:pt x="186" y="2594"/>
                </a:lnTo>
                <a:lnTo>
                  <a:pt x="186" y="2587"/>
                </a:lnTo>
                <a:close/>
                <a:moveTo>
                  <a:pt x="720" y="2260"/>
                </a:moveTo>
                <a:lnTo>
                  <a:pt x="792" y="1121"/>
                </a:lnTo>
                <a:lnTo>
                  <a:pt x="783" y="1115"/>
                </a:lnTo>
                <a:lnTo>
                  <a:pt x="776" y="1108"/>
                </a:lnTo>
                <a:lnTo>
                  <a:pt x="770" y="1102"/>
                </a:lnTo>
                <a:lnTo>
                  <a:pt x="764" y="1095"/>
                </a:lnTo>
                <a:lnTo>
                  <a:pt x="760" y="1086"/>
                </a:lnTo>
                <a:lnTo>
                  <a:pt x="756" y="1078"/>
                </a:lnTo>
                <a:lnTo>
                  <a:pt x="753" y="1069"/>
                </a:lnTo>
                <a:lnTo>
                  <a:pt x="752" y="1059"/>
                </a:lnTo>
                <a:lnTo>
                  <a:pt x="837" y="980"/>
                </a:lnTo>
                <a:lnTo>
                  <a:pt x="924" y="1059"/>
                </a:lnTo>
                <a:lnTo>
                  <a:pt x="922" y="1069"/>
                </a:lnTo>
                <a:lnTo>
                  <a:pt x="920" y="1078"/>
                </a:lnTo>
                <a:lnTo>
                  <a:pt x="916" y="1086"/>
                </a:lnTo>
                <a:lnTo>
                  <a:pt x="910" y="1095"/>
                </a:lnTo>
                <a:lnTo>
                  <a:pt x="905" y="1102"/>
                </a:lnTo>
                <a:lnTo>
                  <a:pt x="899" y="1108"/>
                </a:lnTo>
                <a:lnTo>
                  <a:pt x="892" y="1115"/>
                </a:lnTo>
                <a:lnTo>
                  <a:pt x="884" y="1121"/>
                </a:lnTo>
                <a:lnTo>
                  <a:pt x="955" y="2260"/>
                </a:lnTo>
                <a:lnTo>
                  <a:pt x="837" y="2397"/>
                </a:lnTo>
                <a:lnTo>
                  <a:pt x="720" y="226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marL="0" marR="0" lvl="0" indent="0" defTabSz="10430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Freeform 57">
            <a:extLst>
              <a:ext uri="{FF2B5EF4-FFF2-40B4-BE49-F238E27FC236}">
                <a16:creationId xmlns:a16="http://schemas.microsoft.com/office/drawing/2014/main" id="{E152F1E8-5950-4D7C-BF66-F4944F32CB5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20801" y="2986178"/>
            <a:ext cx="1009914" cy="1411113"/>
          </a:xfrm>
          <a:custGeom>
            <a:avLst/>
            <a:gdLst>
              <a:gd name="T0" fmla="*/ 1593 w 1825"/>
              <a:gd name="T1" fmla="*/ 531 h 2550"/>
              <a:gd name="T2" fmla="*/ 1633 w 1825"/>
              <a:gd name="T3" fmla="*/ 386 h 2550"/>
              <a:gd name="T4" fmla="*/ 1573 w 1825"/>
              <a:gd name="T5" fmla="*/ 257 h 2550"/>
              <a:gd name="T6" fmla="*/ 1452 w 1825"/>
              <a:gd name="T7" fmla="*/ 237 h 2550"/>
              <a:gd name="T8" fmla="*/ 1361 w 1825"/>
              <a:gd name="T9" fmla="*/ 340 h 2550"/>
              <a:gd name="T10" fmla="*/ 1371 w 1825"/>
              <a:gd name="T11" fmla="*/ 496 h 2550"/>
              <a:gd name="T12" fmla="*/ 1479 w 1825"/>
              <a:gd name="T13" fmla="*/ 577 h 2550"/>
              <a:gd name="T14" fmla="*/ 1404 w 1825"/>
              <a:gd name="T15" fmla="*/ 314 h 2550"/>
              <a:gd name="T16" fmla="*/ 1494 w 1825"/>
              <a:gd name="T17" fmla="*/ 260 h 2550"/>
              <a:gd name="T18" fmla="*/ 1578 w 1825"/>
              <a:gd name="T19" fmla="*/ 305 h 2550"/>
              <a:gd name="T20" fmla="*/ 1604 w 1825"/>
              <a:gd name="T21" fmla="*/ 435 h 2550"/>
              <a:gd name="T22" fmla="*/ 1546 w 1825"/>
              <a:gd name="T23" fmla="*/ 533 h 2550"/>
              <a:gd name="T24" fmla="*/ 1452 w 1825"/>
              <a:gd name="T25" fmla="*/ 539 h 2550"/>
              <a:gd name="T26" fmla="*/ 1386 w 1825"/>
              <a:gd name="T27" fmla="*/ 449 h 2550"/>
              <a:gd name="T28" fmla="*/ 401 w 1825"/>
              <a:gd name="T29" fmla="*/ 558 h 2550"/>
              <a:gd name="T30" fmla="*/ 473 w 1825"/>
              <a:gd name="T31" fmla="*/ 437 h 2550"/>
              <a:gd name="T32" fmla="*/ 442 w 1825"/>
              <a:gd name="T33" fmla="*/ 288 h 2550"/>
              <a:gd name="T34" fmla="*/ 335 w 1825"/>
              <a:gd name="T35" fmla="*/ 230 h 2550"/>
              <a:gd name="T36" fmla="*/ 219 w 1825"/>
              <a:gd name="T37" fmla="*/ 299 h 2550"/>
              <a:gd name="T38" fmla="*/ 197 w 1825"/>
              <a:gd name="T39" fmla="*/ 453 h 2550"/>
              <a:gd name="T40" fmla="*/ 279 w 1825"/>
              <a:gd name="T41" fmla="*/ 564 h 2550"/>
              <a:gd name="T42" fmla="*/ 229 w 1825"/>
              <a:gd name="T43" fmla="*/ 347 h 2550"/>
              <a:gd name="T44" fmla="*/ 302 w 1825"/>
              <a:gd name="T45" fmla="*/ 265 h 2550"/>
              <a:gd name="T46" fmla="*/ 395 w 1825"/>
              <a:gd name="T47" fmla="*/ 281 h 2550"/>
              <a:gd name="T48" fmla="*/ 445 w 1825"/>
              <a:gd name="T49" fmla="*/ 386 h 2550"/>
              <a:gd name="T50" fmla="*/ 411 w 1825"/>
              <a:gd name="T51" fmla="*/ 512 h 2550"/>
              <a:gd name="T52" fmla="*/ 323 w 1825"/>
              <a:gd name="T53" fmla="*/ 548 h 2550"/>
              <a:gd name="T54" fmla="*/ 238 w 1825"/>
              <a:gd name="T55" fmla="*/ 483 h 2550"/>
              <a:gd name="T56" fmla="*/ 1281 w 1825"/>
              <a:gd name="T57" fmla="*/ 609 h 2550"/>
              <a:gd name="T58" fmla="*/ 1238 w 1825"/>
              <a:gd name="T59" fmla="*/ 504 h 2550"/>
              <a:gd name="T60" fmla="*/ 1113 w 1825"/>
              <a:gd name="T61" fmla="*/ 440 h 2550"/>
              <a:gd name="T62" fmla="*/ 605 w 1825"/>
              <a:gd name="T63" fmla="*/ 464 h 2550"/>
              <a:gd name="T64" fmla="*/ 529 w 1825"/>
              <a:gd name="T65" fmla="*/ 578 h 2550"/>
              <a:gd name="T66" fmla="*/ 46 w 1825"/>
              <a:gd name="T67" fmla="*/ 653 h 2550"/>
              <a:gd name="T68" fmla="*/ 0 w 1825"/>
              <a:gd name="T69" fmla="*/ 727 h 2550"/>
              <a:gd name="T70" fmla="*/ 43 w 1825"/>
              <a:gd name="T71" fmla="*/ 1572 h 2550"/>
              <a:gd name="T72" fmla="*/ 882 w 1825"/>
              <a:gd name="T73" fmla="*/ 2550 h 2550"/>
              <a:gd name="T74" fmla="*/ 1762 w 1825"/>
              <a:gd name="T75" fmla="*/ 1592 h 2550"/>
              <a:gd name="T76" fmla="*/ 1824 w 1825"/>
              <a:gd name="T77" fmla="*/ 1447 h 2550"/>
              <a:gd name="T78" fmla="*/ 1793 w 1825"/>
              <a:gd name="T79" fmla="*/ 663 h 2550"/>
              <a:gd name="T80" fmla="*/ 311 w 1825"/>
              <a:gd name="T81" fmla="*/ 690 h 2550"/>
              <a:gd name="T82" fmla="*/ 600 w 1825"/>
              <a:gd name="T83" fmla="*/ 546 h 2550"/>
              <a:gd name="T84" fmla="*/ 778 w 1825"/>
              <a:gd name="T85" fmla="*/ 480 h 2550"/>
              <a:gd name="T86" fmla="*/ 1177 w 1825"/>
              <a:gd name="T87" fmla="*/ 526 h 2550"/>
              <a:gd name="T88" fmla="*/ 1107 w 1825"/>
              <a:gd name="T89" fmla="*/ 1199 h 2550"/>
              <a:gd name="T90" fmla="*/ 670 w 1825"/>
              <a:gd name="T91" fmla="*/ 624 h 2550"/>
              <a:gd name="T92" fmla="*/ 1205 w 1825"/>
              <a:gd name="T93" fmla="*/ 1229 h 2550"/>
              <a:gd name="T94" fmla="*/ 553 w 1825"/>
              <a:gd name="T95" fmla="*/ 1969 h 2550"/>
              <a:gd name="T96" fmla="*/ 804 w 1825"/>
              <a:gd name="T97" fmla="*/ 381 h 2550"/>
              <a:gd name="T98" fmla="*/ 894 w 1825"/>
              <a:gd name="T99" fmla="*/ 401 h 2550"/>
              <a:gd name="T100" fmla="*/ 1032 w 1825"/>
              <a:gd name="T101" fmla="*/ 380 h 2550"/>
              <a:gd name="T102" fmla="*/ 1088 w 1825"/>
              <a:gd name="T103" fmla="*/ 343 h 2550"/>
              <a:gd name="T104" fmla="*/ 1068 w 1825"/>
              <a:gd name="T105" fmla="*/ 110 h 2550"/>
              <a:gd name="T106" fmla="*/ 955 w 1825"/>
              <a:gd name="T107" fmla="*/ 8 h 2550"/>
              <a:gd name="T108" fmla="*/ 778 w 1825"/>
              <a:gd name="T109" fmla="*/ 35 h 2550"/>
              <a:gd name="T110" fmla="*/ 720 w 1825"/>
              <a:gd name="T111" fmla="*/ 147 h 2550"/>
              <a:gd name="T112" fmla="*/ 721 w 1825"/>
              <a:gd name="T113" fmla="*/ 371 h 2550"/>
              <a:gd name="T114" fmla="*/ 784 w 1825"/>
              <a:gd name="T115" fmla="*/ 175 h 2550"/>
              <a:gd name="T116" fmla="*/ 879 w 1825"/>
              <a:gd name="T117" fmla="*/ 195 h 2550"/>
              <a:gd name="T118" fmla="*/ 1008 w 1825"/>
              <a:gd name="T119" fmla="*/ 199 h 2550"/>
              <a:gd name="T120" fmla="*/ 982 w 1825"/>
              <a:gd name="T121" fmla="*/ 325 h 2550"/>
              <a:gd name="T122" fmla="*/ 894 w 1825"/>
              <a:gd name="T123" fmla="*/ 371 h 2550"/>
              <a:gd name="T124" fmla="*/ 800 w 1825"/>
              <a:gd name="T125" fmla="*/ 316 h 2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5" h="2550">
                <a:moveTo>
                  <a:pt x="1494" y="577"/>
                </a:moveTo>
                <a:lnTo>
                  <a:pt x="1494" y="577"/>
                </a:lnTo>
                <a:lnTo>
                  <a:pt x="1508" y="577"/>
                </a:lnTo>
                <a:lnTo>
                  <a:pt x="1523" y="573"/>
                </a:lnTo>
                <a:lnTo>
                  <a:pt x="1537" y="570"/>
                </a:lnTo>
                <a:lnTo>
                  <a:pt x="1549" y="564"/>
                </a:lnTo>
                <a:lnTo>
                  <a:pt x="1561" y="558"/>
                </a:lnTo>
                <a:lnTo>
                  <a:pt x="1573" y="550"/>
                </a:lnTo>
                <a:lnTo>
                  <a:pt x="1584" y="541"/>
                </a:lnTo>
                <a:lnTo>
                  <a:pt x="1593" y="531"/>
                </a:lnTo>
                <a:lnTo>
                  <a:pt x="1602" y="521"/>
                </a:lnTo>
                <a:lnTo>
                  <a:pt x="1610" y="508"/>
                </a:lnTo>
                <a:lnTo>
                  <a:pt x="1617" y="496"/>
                </a:lnTo>
                <a:lnTo>
                  <a:pt x="1623" y="482"/>
                </a:lnTo>
                <a:lnTo>
                  <a:pt x="1628" y="468"/>
                </a:lnTo>
                <a:lnTo>
                  <a:pt x="1631" y="453"/>
                </a:lnTo>
                <a:lnTo>
                  <a:pt x="1632" y="437"/>
                </a:lnTo>
                <a:lnTo>
                  <a:pt x="1633" y="423"/>
                </a:lnTo>
                <a:lnTo>
                  <a:pt x="1633" y="386"/>
                </a:lnTo>
                <a:lnTo>
                  <a:pt x="1633" y="386"/>
                </a:lnTo>
                <a:lnTo>
                  <a:pt x="1632" y="370"/>
                </a:lnTo>
                <a:lnTo>
                  <a:pt x="1631" y="354"/>
                </a:lnTo>
                <a:lnTo>
                  <a:pt x="1628" y="340"/>
                </a:lnTo>
                <a:lnTo>
                  <a:pt x="1623" y="326"/>
                </a:lnTo>
                <a:lnTo>
                  <a:pt x="1617" y="313"/>
                </a:lnTo>
                <a:lnTo>
                  <a:pt x="1610" y="299"/>
                </a:lnTo>
                <a:lnTo>
                  <a:pt x="1602" y="288"/>
                </a:lnTo>
                <a:lnTo>
                  <a:pt x="1593" y="277"/>
                </a:lnTo>
                <a:lnTo>
                  <a:pt x="1584" y="266"/>
                </a:lnTo>
                <a:lnTo>
                  <a:pt x="1573" y="257"/>
                </a:lnTo>
                <a:lnTo>
                  <a:pt x="1561" y="250"/>
                </a:lnTo>
                <a:lnTo>
                  <a:pt x="1549" y="243"/>
                </a:lnTo>
                <a:lnTo>
                  <a:pt x="1537" y="237"/>
                </a:lnTo>
                <a:lnTo>
                  <a:pt x="1523" y="234"/>
                </a:lnTo>
                <a:lnTo>
                  <a:pt x="1508" y="232"/>
                </a:lnTo>
                <a:lnTo>
                  <a:pt x="1494" y="230"/>
                </a:lnTo>
                <a:lnTo>
                  <a:pt x="1494" y="230"/>
                </a:lnTo>
                <a:lnTo>
                  <a:pt x="1479" y="232"/>
                </a:lnTo>
                <a:lnTo>
                  <a:pt x="1466" y="234"/>
                </a:lnTo>
                <a:lnTo>
                  <a:pt x="1452" y="237"/>
                </a:lnTo>
                <a:lnTo>
                  <a:pt x="1440" y="243"/>
                </a:lnTo>
                <a:lnTo>
                  <a:pt x="1427" y="250"/>
                </a:lnTo>
                <a:lnTo>
                  <a:pt x="1416" y="257"/>
                </a:lnTo>
                <a:lnTo>
                  <a:pt x="1405" y="266"/>
                </a:lnTo>
                <a:lnTo>
                  <a:pt x="1395" y="277"/>
                </a:lnTo>
                <a:lnTo>
                  <a:pt x="1386" y="288"/>
                </a:lnTo>
                <a:lnTo>
                  <a:pt x="1378" y="299"/>
                </a:lnTo>
                <a:lnTo>
                  <a:pt x="1371" y="313"/>
                </a:lnTo>
                <a:lnTo>
                  <a:pt x="1365" y="326"/>
                </a:lnTo>
                <a:lnTo>
                  <a:pt x="1361" y="340"/>
                </a:lnTo>
                <a:lnTo>
                  <a:pt x="1357" y="354"/>
                </a:lnTo>
                <a:lnTo>
                  <a:pt x="1355" y="370"/>
                </a:lnTo>
                <a:lnTo>
                  <a:pt x="1355" y="386"/>
                </a:lnTo>
                <a:lnTo>
                  <a:pt x="1355" y="423"/>
                </a:lnTo>
                <a:lnTo>
                  <a:pt x="1355" y="423"/>
                </a:lnTo>
                <a:lnTo>
                  <a:pt x="1355" y="437"/>
                </a:lnTo>
                <a:lnTo>
                  <a:pt x="1357" y="453"/>
                </a:lnTo>
                <a:lnTo>
                  <a:pt x="1361" y="468"/>
                </a:lnTo>
                <a:lnTo>
                  <a:pt x="1365" y="482"/>
                </a:lnTo>
                <a:lnTo>
                  <a:pt x="1371" y="496"/>
                </a:lnTo>
                <a:lnTo>
                  <a:pt x="1378" y="508"/>
                </a:lnTo>
                <a:lnTo>
                  <a:pt x="1386" y="521"/>
                </a:lnTo>
                <a:lnTo>
                  <a:pt x="1395" y="531"/>
                </a:lnTo>
                <a:lnTo>
                  <a:pt x="1405" y="541"/>
                </a:lnTo>
                <a:lnTo>
                  <a:pt x="1416" y="550"/>
                </a:lnTo>
                <a:lnTo>
                  <a:pt x="1427" y="558"/>
                </a:lnTo>
                <a:lnTo>
                  <a:pt x="1440" y="564"/>
                </a:lnTo>
                <a:lnTo>
                  <a:pt x="1452" y="570"/>
                </a:lnTo>
                <a:lnTo>
                  <a:pt x="1466" y="573"/>
                </a:lnTo>
                <a:lnTo>
                  <a:pt x="1479" y="577"/>
                </a:lnTo>
                <a:lnTo>
                  <a:pt x="1494" y="577"/>
                </a:lnTo>
                <a:lnTo>
                  <a:pt x="1494" y="577"/>
                </a:lnTo>
                <a:close/>
                <a:moveTo>
                  <a:pt x="1383" y="386"/>
                </a:moveTo>
                <a:lnTo>
                  <a:pt x="1383" y="386"/>
                </a:lnTo>
                <a:lnTo>
                  <a:pt x="1385" y="372"/>
                </a:lnTo>
                <a:lnTo>
                  <a:pt x="1386" y="360"/>
                </a:lnTo>
                <a:lnTo>
                  <a:pt x="1389" y="347"/>
                </a:lnTo>
                <a:lnTo>
                  <a:pt x="1392" y="336"/>
                </a:lnTo>
                <a:lnTo>
                  <a:pt x="1398" y="325"/>
                </a:lnTo>
                <a:lnTo>
                  <a:pt x="1404" y="314"/>
                </a:lnTo>
                <a:lnTo>
                  <a:pt x="1409" y="305"/>
                </a:lnTo>
                <a:lnTo>
                  <a:pt x="1417" y="296"/>
                </a:lnTo>
                <a:lnTo>
                  <a:pt x="1425" y="288"/>
                </a:lnTo>
                <a:lnTo>
                  <a:pt x="1433" y="281"/>
                </a:lnTo>
                <a:lnTo>
                  <a:pt x="1442" y="274"/>
                </a:lnTo>
                <a:lnTo>
                  <a:pt x="1452" y="269"/>
                </a:lnTo>
                <a:lnTo>
                  <a:pt x="1462" y="265"/>
                </a:lnTo>
                <a:lnTo>
                  <a:pt x="1472" y="262"/>
                </a:lnTo>
                <a:lnTo>
                  <a:pt x="1484" y="260"/>
                </a:lnTo>
                <a:lnTo>
                  <a:pt x="1494" y="260"/>
                </a:lnTo>
                <a:lnTo>
                  <a:pt x="1494" y="260"/>
                </a:lnTo>
                <a:lnTo>
                  <a:pt x="1505" y="260"/>
                </a:lnTo>
                <a:lnTo>
                  <a:pt x="1516" y="262"/>
                </a:lnTo>
                <a:lnTo>
                  <a:pt x="1526" y="265"/>
                </a:lnTo>
                <a:lnTo>
                  <a:pt x="1537" y="269"/>
                </a:lnTo>
                <a:lnTo>
                  <a:pt x="1546" y="274"/>
                </a:lnTo>
                <a:lnTo>
                  <a:pt x="1555" y="281"/>
                </a:lnTo>
                <a:lnTo>
                  <a:pt x="1564" y="288"/>
                </a:lnTo>
                <a:lnTo>
                  <a:pt x="1572" y="296"/>
                </a:lnTo>
                <a:lnTo>
                  <a:pt x="1578" y="305"/>
                </a:lnTo>
                <a:lnTo>
                  <a:pt x="1585" y="314"/>
                </a:lnTo>
                <a:lnTo>
                  <a:pt x="1591" y="325"/>
                </a:lnTo>
                <a:lnTo>
                  <a:pt x="1595" y="336"/>
                </a:lnTo>
                <a:lnTo>
                  <a:pt x="1600" y="347"/>
                </a:lnTo>
                <a:lnTo>
                  <a:pt x="1602" y="360"/>
                </a:lnTo>
                <a:lnTo>
                  <a:pt x="1604" y="372"/>
                </a:lnTo>
                <a:lnTo>
                  <a:pt x="1604" y="386"/>
                </a:lnTo>
                <a:lnTo>
                  <a:pt x="1604" y="423"/>
                </a:lnTo>
                <a:lnTo>
                  <a:pt x="1604" y="423"/>
                </a:lnTo>
                <a:lnTo>
                  <a:pt x="1604" y="435"/>
                </a:lnTo>
                <a:lnTo>
                  <a:pt x="1602" y="449"/>
                </a:lnTo>
                <a:lnTo>
                  <a:pt x="1600" y="460"/>
                </a:lnTo>
                <a:lnTo>
                  <a:pt x="1595" y="472"/>
                </a:lnTo>
                <a:lnTo>
                  <a:pt x="1591" y="483"/>
                </a:lnTo>
                <a:lnTo>
                  <a:pt x="1585" y="494"/>
                </a:lnTo>
                <a:lnTo>
                  <a:pt x="1578" y="503"/>
                </a:lnTo>
                <a:lnTo>
                  <a:pt x="1572" y="512"/>
                </a:lnTo>
                <a:lnTo>
                  <a:pt x="1564" y="519"/>
                </a:lnTo>
                <a:lnTo>
                  <a:pt x="1555" y="527"/>
                </a:lnTo>
                <a:lnTo>
                  <a:pt x="1546" y="533"/>
                </a:lnTo>
                <a:lnTo>
                  <a:pt x="1537" y="539"/>
                </a:lnTo>
                <a:lnTo>
                  <a:pt x="1526" y="543"/>
                </a:lnTo>
                <a:lnTo>
                  <a:pt x="1516" y="545"/>
                </a:lnTo>
                <a:lnTo>
                  <a:pt x="1505" y="548"/>
                </a:lnTo>
                <a:lnTo>
                  <a:pt x="1494" y="549"/>
                </a:lnTo>
                <a:lnTo>
                  <a:pt x="1494" y="549"/>
                </a:lnTo>
                <a:lnTo>
                  <a:pt x="1484" y="548"/>
                </a:lnTo>
                <a:lnTo>
                  <a:pt x="1472" y="545"/>
                </a:lnTo>
                <a:lnTo>
                  <a:pt x="1462" y="543"/>
                </a:lnTo>
                <a:lnTo>
                  <a:pt x="1452" y="539"/>
                </a:lnTo>
                <a:lnTo>
                  <a:pt x="1442" y="533"/>
                </a:lnTo>
                <a:lnTo>
                  <a:pt x="1433" y="527"/>
                </a:lnTo>
                <a:lnTo>
                  <a:pt x="1425" y="519"/>
                </a:lnTo>
                <a:lnTo>
                  <a:pt x="1417" y="512"/>
                </a:lnTo>
                <a:lnTo>
                  <a:pt x="1409" y="503"/>
                </a:lnTo>
                <a:lnTo>
                  <a:pt x="1404" y="494"/>
                </a:lnTo>
                <a:lnTo>
                  <a:pt x="1398" y="483"/>
                </a:lnTo>
                <a:lnTo>
                  <a:pt x="1392" y="472"/>
                </a:lnTo>
                <a:lnTo>
                  <a:pt x="1389" y="460"/>
                </a:lnTo>
                <a:lnTo>
                  <a:pt x="1386" y="449"/>
                </a:lnTo>
                <a:lnTo>
                  <a:pt x="1385" y="435"/>
                </a:lnTo>
                <a:lnTo>
                  <a:pt x="1383" y="423"/>
                </a:lnTo>
                <a:lnTo>
                  <a:pt x="1383" y="386"/>
                </a:lnTo>
                <a:close/>
                <a:moveTo>
                  <a:pt x="335" y="577"/>
                </a:moveTo>
                <a:lnTo>
                  <a:pt x="335" y="577"/>
                </a:lnTo>
                <a:lnTo>
                  <a:pt x="348" y="577"/>
                </a:lnTo>
                <a:lnTo>
                  <a:pt x="363" y="573"/>
                </a:lnTo>
                <a:lnTo>
                  <a:pt x="376" y="570"/>
                </a:lnTo>
                <a:lnTo>
                  <a:pt x="389" y="564"/>
                </a:lnTo>
                <a:lnTo>
                  <a:pt x="401" y="558"/>
                </a:lnTo>
                <a:lnTo>
                  <a:pt x="412" y="550"/>
                </a:lnTo>
                <a:lnTo>
                  <a:pt x="424" y="541"/>
                </a:lnTo>
                <a:lnTo>
                  <a:pt x="434" y="531"/>
                </a:lnTo>
                <a:lnTo>
                  <a:pt x="442" y="521"/>
                </a:lnTo>
                <a:lnTo>
                  <a:pt x="451" y="508"/>
                </a:lnTo>
                <a:lnTo>
                  <a:pt x="457" y="496"/>
                </a:lnTo>
                <a:lnTo>
                  <a:pt x="463" y="482"/>
                </a:lnTo>
                <a:lnTo>
                  <a:pt x="468" y="468"/>
                </a:lnTo>
                <a:lnTo>
                  <a:pt x="471" y="453"/>
                </a:lnTo>
                <a:lnTo>
                  <a:pt x="473" y="437"/>
                </a:lnTo>
                <a:lnTo>
                  <a:pt x="473" y="423"/>
                </a:lnTo>
                <a:lnTo>
                  <a:pt x="473" y="386"/>
                </a:lnTo>
                <a:lnTo>
                  <a:pt x="473" y="386"/>
                </a:lnTo>
                <a:lnTo>
                  <a:pt x="473" y="370"/>
                </a:lnTo>
                <a:lnTo>
                  <a:pt x="471" y="354"/>
                </a:lnTo>
                <a:lnTo>
                  <a:pt x="468" y="340"/>
                </a:lnTo>
                <a:lnTo>
                  <a:pt x="463" y="326"/>
                </a:lnTo>
                <a:lnTo>
                  <a:pt x="457" y="313"/>
                </a:lnTo>
                <a:lnTo>
                  <a:pt x="451" y="299"/>
                </a:lnTo>
                <a:lnTo>
                  <a:pt x="442" y="288"/>
                </a:lnTo>
                <a:lnTo>
                  <a:pt x="434" y="277"/>
                </a:lnTo>
                <a:lnTo>
                  <a:pt x="424" y="266"/>
                </a:lnTo>
                <a:lnTo>
                  <a:pt x="412" y="257"/>
                </a:lnTo>
                <a:lnTo>
                  <a:pt x="401" y="250"/>
                </a:lnTo>
                <a:lnTo>
                  <a:pt x="389" y="243"/>
                </a:lnTo>
                <a:lnTo>
                  <a:pt x="376" y="237"/>
                </a:lnTo>
                <a:lnTo>
                  <a:pt x="363" y="234"/>
                </a:lnTo>
                <a:lnTo>
                  <a:pt x="348" y="232"/>
                </a:lnTo>
                <a:lnTo>
                  <a:pt x="335" y="230"/>
                </a:lnTo>
                <a:lnTo>
                  <a:pt x="335" y="230"/>
                </a:lnTo>
                <a:lnTo>
                  <a:pt x="320" y="232"/>
                </a:lnTo>
                <a:lnTo>
                  <a:pt x="305" y="234"/>
                </a:lnTo>
                <a:lnTo>
                  <a:pt x="292" y="237"/>
                </a:lnTo>
                <a:lnTo>
                  <a:pt x="279" y="243"/>
                </a:lnTo>
                <a:lnTo>
                  <a:pt x="267" y="250"/>
                </a:lnTo>
                <a:lnTo>
                  <a:pt x="256" y="257"/>
                </a:lnTo>
                <a:lnTo>
                  <a:pt x="244" y="266"/>
                </a:lnTo>
                <a:lnTo>
                  <a:pt x="235" y="277"/>
                </a:lnTo>
                <a:lnTo>
                  <a:pt x="226" y="288"/>
                </a:lnTo>
                <a:lnTo>
                  <a:pt x="219" y="299"/>
                </a:lnTo>
                <a:lnTo>
                  <a:pt x="212" y="313"/>
                </a:lnTo>
                <a:lnTo>
                  <a:pt x="205" y="326"/>
                </a:lnTo>
                <a:lnTo>
                  <a:pt x="201" y="340"/>
                </a:lnTo>
                <a:lnTo>
                  <a:pt x="197" y="354"/>
                </a:lnTo>
                <a:lnTo>
                  <a:pt x="196" y="370"/>
                </a:lnTo>
                <a:lnTo>
                  <a:pt x="195" y="386"/>
                </a:lnTo>
                <a:lnTo>
                  <a:pt x="195" y="423"/>
                </a:lnTo>
                <a:lnTo>
                  <a:pt x="195" y="423"/>
                </a:lnTo>
                <a:lnTo>
                  <a:pt x="196" y="437"/>
                </a:lnTo>
                <a:lnTo>
                  <a:pt x="197" y="453"/>
                </a:lnTo>
                <a:lnTo>
                  <a:pt x="201" y="468"/>
                </a:lnTo>
                <a:lnTo>
                  <a:pt x="205" y="482"/>
                </a:lnTo>
                <a:lnTo>
                  <a:pt x="212" y="496"/>
                </a:lnTo>
                <a:lnTo>
                  <a:pt x="219" y="508"/>
                </a:lnTo>
                <a:lnTo>
                  <a:pt x="226" y="521"/>
                </a:lnTo>
                <a:lnTo>
                  <a:pt x="235" y="531"/>
                </a:lnTo>
                <a:lnTo>
                  <a:pt x="244" y="541"/>
                </a:lnTo>
                <a:lnTo>
                  <a:pt x="256" y="550"/>
                </a:lnTo>
                <a:lnTo>
                  <a:pt x="267" y="558"/>
                </a:lnTo>
                <a:lnTo>
                  <a:pt x="279" y="564"/>
                </a:lnTo>
                <a:lnTo>
                  <a:pt x="292" y="570"/>
                </a:lnTo>
                <a:lnTo>
                  <a:pt x="305" y="573"/>
                </a:lnTo>
                <a:lnTo>
                  <a:pt x="320" y="577"/>
                </a:lnTo>
                <a:lnTo>
                  <a:pt x="335" y="577"/>
                </a:lnTo>
                <a:lnTo>
                  <a:pt x="335" y="577"/>
                </a:lnTo>
                <a:close/>
                <a:moveTo>
                  <a:pt x="224" y="386"/>
                </a:moveTo>
                <a:lnTo>
                  <a:pt x="224" y="386"/>
                </a:lnTo>
                <a:lnTo>
                  <a:pt x="224" y="372"/>
                </a:lnTo>
                <a:lnTo>
                  <a:pt x="226" y="360"/>
                </a:lnTo>
                <a:lnTo>
                  <a:pt x="229" y="347"/>
                </a:lnTo>
                <a:lnTo>
                  <a:pt x="233" y="336"/>
                </a:lnTo>
                <a:lnTo>
                  <a:pt x="238" y="325"/>
                </a:lnTo>
                <a:lnTo>
                  <a:pt x="243" y="314"/>
                </a:lnTo>
                <a:lnTo>
                  <a:pt x="249" y="305"/>
                </a:lnTo>
                <a:lnTo>
                  <a:pt x="257" y="296"/>
                </a:lnTo>
                <a:lnTo>
                  <a:pt x="265" y="288"/>
                </a:lnTo>
                <a:lnTo>
                  <a:pt x="273" y="281"/>
                </a:lnTo>
                <a:lnTo>
                  <a:pt x="283" y="274"/>
                </a:lnTo>
                <a:lnTo>
                  <a:pt x="292" y="269"/>
                </a:lnTo>
                <a:lnTo>
                  <a:pt x="302" y="265"/>
                </a:lnTo>
                <a:lnTo>
                  <a:pt x="312" y="262"/>
                </a:lnTo>
                <a:lnTo>
                  <a:pt x="323" y="260"/>
                </a:lnTo>
                <a:lnTo>
                  <a:pt x="335" y="260"/>
                </a:lnTo>
                <a:lnTo>
                  <a:pt x="335" y="260"/>
                </a:lnTo>
                <a:lnTo>
                  <a:pt x="345" y="260"/>
                </a:lnTo>
                <a:lnTo>
                  <a:pt x="356" y="262"/>
                </a:lnTo>
                <a:lnTo>
                  <a:pt x="366" y="265"/>
                </a:lnTo>
                <a:lnTo>
                  <a:pt x="376" y="269"/>
                </a:lnTo>
                <a:lnTo>
                  <a:pt x="386" y="274"/>
                </a:lnTo>
                <a:lnTo>
                  <a:pt x="395" y="281"/>
                </a:lnTo>
                <a:lnTo>
                  <a:pt x="403" y="288"/>
                </a:lnTo>
                <a:lnTo>
                  <a:pt x="411" y="296"/>
                </a:lnTo>
                <a:lnTo>
                  <a:pt x="419" y="305"/>
                </a:lnTo>
                <a:lnTo>
                  <a:pt x="425" y="314"/>
                </a:lnTo>
                <a:lnTo>
                  <a:pt x="430" y="325"/>
                </a:lnTo>
                <a:lnTo>
                  <a:pt x="436" y="336"/>
                </a:lnTo>
                <a:lnTo>
                  <a:pt x="439" y="347"/>
                </a:lnTo>
                <a:lnTo>
                  <a:pt x="442" y="360"/>
                </a:lnTo>
                <a:lnTo>
                  <a:pt x="444" y="372"/>
                </a:lnTo>
                <a:lnTo>
                  <a:pt x="445" y="386"/>
                </a:lnTo>
                <a:lnTo>
                  <a:pt x="445" y="423"/>
                </a:lnTo>
                <a:lnTo>
                  <a:pt x="445" y="423"/>
                </a:lnTo>
                <a:lnTo>
                  <a:pt x="444" y="435"/>
                </a:lnTo>
                <a:lnTo>
                  <a:pt x="442" y="449"/>
                </a:lnTo>
                <a:lnTo>
                  <a:pt x="439" y="460"/>
                </a:lnTo>
                <a:lnTo>
                  <a:pt x="436" y="472"/>
                </a:lnTo>
                <a:lnTo>
                  <a:pt x="430" y="483"/>
                </a:lnTo>
                <a:lnTo>
                  <a:pt x="425" y="494"/>
                </a:lnTo>
                <a:lnTo>
                  <a:pt x="419" y="503"/>
                </a:lnTo>
                <a:lnTo>
                  <a:pt x="411" y="512"/>
                </a:lnTo>
                <a:lnTo>
                  <a:pt x="403" y="519"/>
                </a:lnTo>
                <a:lnTo>
                  <a:pt x="395" y="527"/>
                </a:lnTo>
                <a:lnTo>
                  <a:pt x="386" y="533"/>
                </a:lnTo>
                <a:lnTo>
                  <a:pt x="376" y="539"/>
                </a:lnTo>
                <a:lnTo>
                  <a:pt x="366" y="543"/>
                </a:lnTo>
                <a:lnTo>
                  <a:pt x="356" y="545"/>
                </a:lnTo>
                <a:lnTo>
                  <a:pt x="345" y="548"/>
                </a:lnTo>
                <a:lnTo>
                  <a:pt x="335" y="549"/>
                </a:lnTo>
                <a:lnTo>
                  <a:pt x="335" y="549"/>
                </a:lnTo>
                <a:lnTo>
                  <a:pt x="323" y="548"/>
                </a:lnTo>
                <a:lnTo>
                  <a:pt x="312" y="545"/>
                </a:lnTo>
                <a:lnTo>
                  <a:pt x="302" y="543"/>
                </a:lnTo>
                <a:lnTo>
                  <a:pt x="292" y="539"/>
                </a:lnTo>
                <a:lnTo>
                  <a:pt x="283" y="533"/>
                </a:lnTo>
                <a:lnTo>
                  <a:pt x="273" y="527"/>
                </a:lnTo>
                <a:lnTo>
                  <a:pt x="265" y="519"/>
                </a:lnTo>
                <a:lnTo>
                  <a:pt x="257" y="512"/>
                </a:lnTo>
                <a:lnTo>
                  <a:pt x="249" y="503"/>
                </a:lnTo>
                <a:lnTo>
                  <a:pt x="243" y="494"/>
                </a:lnTo>
                <a:lnTo>
                  <a:pt x="238" y="483"/>
                </a:lnTo>
                <a:lnTo>
                  <a:pt x="233" y="472"/>
                </a:lnTo>
                <a:lnTo>
                  <a:pt x="229" y="460"/>
                </a:lnTo>
                <a:lnTo>
                  <a:pt x="226" y="449"/>
                </a:lnTo>
                <a:lnTo>
                  <a:pt x="224" y="435"/>
                </a:lnTo>
                <a:lnTo>
                  <a:pt x="224" y="423"/>
                </a:lnTo>
                <a:lnTo>
                  <a:pt x="224" y="386"/>
                </a:lnTo>
                <a:close/>
                <a:moveTo>
                  <a:pt x="1734" y="643"/>
                </a:moveTo>
                <a:lnTo>
                  <a:pt x="1302" y="611"/>
                </a:lnTo>
                <a:lnTo>
                  <a:pt x="1302" y="611"/>
                </a:lnTo>
                <a:lnTo>
                  <a:pt x="1281" y="609"/>
                </a:lnTo>
                <a:lnTo>
                  <a:pt x="1272" y="609"/>
                </a:lnTo>
                <a:lnTo>
                  <a:pt x="1264" y="611"/>
                </a:lnTo>
                <a:lnTo>
                  <a:pt x="1264" y="596"/>
                </a:lnTo>
                <a:lnTo>
                  <a:pt x="1264" y="596"/>
                </a:lnTo>
                <a:lnTo>
                  <a:pt x="1264" y="577"/>
                </a:lnTo>
                <a:lnTo>
                  <a:pt x="1261" y="560"/>
                </a:lnTo>
                <a:lnTo>
                  <a:pt x="1257" y="544"/>
                </a:lnTo>
                <a:lnTo>
                  <a:pt x="1252" y="530"/>
                </a:lnTo>
                <a:lnTo>
                  <a:pt x="1246" y="516"/>
                </a:lnTo>
                <a:lnTo>
                  <a:pt x="1238" y="504"/>
                </a:lnTo>
                <a:lnTo>
                  <a:pt x="1229" y="494"/>
                </a:lnTo>
                <a:lnTo>
                  <a:pt x="1219" y="483"/>
                </a:lnTo>
                <a:lnTo>
                  <a:pt x="1208" y="474"/>
                </a:lnTo>
                <a:lnTo>
                  <a:pt x="1196" y="468"/>
                </a:lnTo>
                <a:lnTo>
                  <a:pt x="1184" y="461"/>
                </a:lnTo>
                <a:lnTo>
                  <a:pt x="1170" y="454"/>
                </a:lnTo>
                <a:lnTo>
                  <a:pt x="1157" y="450"/>
                </a:lnTo>
                <a:lnTo>
                  <a:pt x="1143" y="445"/>
                </a:lnTo>
                <a:lnTo>
                  <a:pt x="1129" y="442"/>
                </a:lnTo>
                <a:lnTo>
                  <a:pt x="1113" y="440"/>
                </a:lnTo>
                <a:lnTo>
                  <a:pt x="1003" y="422"/>
                </a:lnTo>
                <a:lnTo>
                  <a:pt x="893" y="650"/>
                </a:lnTo>
                <a:lnTo>
                  <a:pt x="783" y="419"/>
                </a:lnTo>
                <a:lnTo>
                  <a:pt x="671" y="442"/>
                </a:lnTo>
                <a:lnTo>
                  <a:pt x="671" y="442"/>
                </a:lnTo>
                <a:lnTo>
                  <a:pt x="658" y="444"/>
                </a:lnTo>
                <a:lnTo>
                  <a:pt x="643" y="449"/>
                </a:lnTo>
                <a:lnTo>
                  <a:pt x="630" y="453"/>
                </a:lnTo>
                <a:lnTo>
                  <a:pt x="617" y="458"/>
                </a:lnTo>
                <a:lnTo>
                  <a:pt x="605" y="464"/>
                </a:lnTo>
                <a:lnTo>
                  <a:pt x="593" y="471"/>
                </a:lnTo>
                <a:lnTo>
                  <a:pt x="582" y="478"/>
                </a:lnTo>
                <a:lnTo>
                  <a:pt x="572" y="487"/>
                </a:lnTo>
                <a:lnTo>
                  <a:pt x="562" y="496"/>
                </a:lnTo>
                <a:lnTo>
                  <a:pt x="554" y="507"/>
                </a:lnTo>
                <a:lnTo>
                  <a:pt x="546" y="518"/>
                </a:lnTo>
                <a:lnTo>
                  <a:pt x="541" y="532"/>
                </a:lnTo>
                <a:lnTo>
                  <a:pt x="536" y="545"/>
                </a:lnTo>
                <a:lnTo>
                  <a:pt x="532" y="561"/>
                </a:lnTo>
                <a:lnTo>
                  <a:pt x="529" y="578"/>
                </a:lnTo>
                <a:lnTo>
                  <a:pt x="529" y="596"/>
                </a:lnTo>
                <a:lnTo>
                  <a:pt x="529" y="611"/>
                </a:lnTo>
                <a:lnTo>
                  <a:pt x="529" y="611"/>
                </a:lnTo>
                <a:lnTo>
                  <a:pt x="505" y="612"/>
                </a:lnTo>
                <a:lnTo>
                  <a:pt x="90" y="643"/>
                </a:lnTo>
                <a:lnTo>
                  <a:pt x="90" y="643"/>
                </a:lnTo>
                <a:lnTo>
                  <a:pt x="78" y="644"/>
                </a:lnTo>
                <a:lnTo>
                  <a:pt x="66" y="646"/>
                </a:lnTo>
                <a:lnTo>
                  <a:pt x="56" y="650"/>
                </a:lnTo>
                <a:lnTo>
                  <a:pt x="46" y="653"/>
                </a:lnTo>
                <a:lnTo>
                  <a:pt x="38" y="658"/>
                </a:lnTo>
                <a:lnTo>
                  <a:pt x="30" y="663"/>
                </a:lnTo>
                <a:lnTo>
                  <a:pt x="25" y="669"/>
                </a:lnTo>
                <a:lnTo>
                  <a:pt x="19" y="675"/>
                </a:lnTo>
                <a:lnTo>
                  <a:pt x="14" y="681"/>
                </a:lnTo>
                <a:lnTo>
                  <a:pt x="10" y="687"/>
                </a:lnTo>
                <a:lnTo>
                  <a:pt x="7" y="694"/>
                </a:lnTo>
                <a:lnTo>
                  <a:pt x="5" y="700"/>
                </a:lnTo>
                <a:lnTo>
                  <a:pt x="1" y="714"/>
                </a:lnTo>
                <a:lnTo>
                  <a:pt x="0" y="727"/>
                </a:lnTo>
                <a:lnTo>
                  <a:pt x="1" y="1447"/>
                </a:lnTo>
                <a:lnTo>
                  <a:pt x="1" y="1447"/>
                </a:lnTo>
                <a:lnTo>
                  <a:pt x="1" y="1467"/>
                </a:lnTo>
                <a:lnTo>
                  <a:pt x="5" y="1486"/>
                </a:lnTo>
                <a:lnTo>
                  <a:pt x="8" y="1503"/>
                </a:lnTo>
                <a:lnTo>
                  <a:pt x="14" y="1519"/>
                </a:lnTo>
                <a:lnTo>
                  <a:pt x="19" y="1534"/>
                </a:lnTo>
                <a:lnTo>
                  <a:pt x="27" y="1547"/>
                </a:lnTo>
                <a:lnTo>
                  <a:pt x="35" y="1559"/>
                </a:lnTo>
                <a:lnTo>
                  <a:pt x="43" y="1572"/>
                </a:lnTo>
                <a:lnTo>
                  <a:pt x="53" y="1582"/>
                </a:lnTo>
                <a:lnTo>
                  <a:pt x="62" y="1592"/>
                </a:lnTo>
                <a:lnTo>
                  <a:pt x="82" y="1611"/>
                </a:lnTo>
                <a:lnTo>
                  <a:pt x="101" y="1629"/>
                </a:lnTo>
                <a:lnTo>
                  <a:pt x="119" y="1646"/>
                </a:lnTo>
                <a:lnTo>
                  <a:pt x="159" y="2550"/>
                </a:lnTo>
                <a:lnTo>
                  <a:pt x="813" y="2550"/>
                </a:lnTo>
                <a:lnTo>
                  <a:pt x="740" y="2018"/>
                </a:lnTo>
                <a:lnTo>
                  <a:pt x="884" y="2018"/>
                </a:lnTo>
                <a:lnTo>
                  <a:pt x="882" y="2550"/>
                </a:lnTo>
                <a:lnTo>
                  <a:pt x="911" y="2550"/>
                </a:lnTo>
                <a:lnTo>
                  <a:pt x="914" y="2018"/>
                </a:lnTo>
                <a:lnTo>
                  <a:pt x="1053" y="2018"/>
                </a:lnTo>
                <a:lnTo>
                  <a:pt x="980" y="2550"/>
                </a:lnTo>
                <a:lnTo>
                  <a:pt x="1665" y="2550"/>
                </a:lnTo>
                <a:lnTo>
                  <a:pt x="1704" y="1646"/>
                </a:lnTo>
                <a:lnTo>
                  <a:pt x="1704" y="1646"/>
                </a:lnTo>
                <a:lnTo>
                  <a:pt x="1722" y="1629"/>
                </a:lnTo>
                <a:lnTo>
                  <a:pt x="1742" y="1611"/>
                </a:lnTo>
                <a:lnTo>
                  <a:pt x="1762" y="1592"/>
                </a:lnTo>
                <a:lnTo>
                  <a:pt x="1771" y="1582"/>
                </a:lnTo>
                <a:lnTo>
                  <a:pt x="1781" y="1572"/>
                </a:lnTo>
                <a:lnTo>
                  <a:pt x="1789" y="1559"/>
                </a:lnTo>
                <a:lnTo>
                  <a:pt x="1798" y="1547"/>
                </a:lnTo>
                <a:lnTo>
                  <a:pt x="1805" y="1534"/>
                </a:lnTo>
                <a:lnTo>
                  <a:pt x="1811" y="1519"/>
                </a:lnTo>
                <a:lnTo>
                  <a:pt x="1816" y="1503"/>
                </a:lnTo>
                <a:lnTo>
                  <a:pt x="1820" y="1486"/>
                </a:lnTo>
                <a:lnTo>
                  <a:pt x="1823" y="1467"/>
                </a:lnTo>
                <a:lnTo>
                  <a:pt x="1824" y="1447"/>
                </a:lnTo>
                <a:lnTo>
                  <a:pt x="1825" y="727"/>
                </a:lnTo>
                <a:lnTo>
                  <a:pt x="1825" y="727"/>
                </a:lnTo>
                <a:lnTo>
                  <a:pt x="1824" y="714"/>
                </a:lnTo>
                <a:lnTo>
                  <a:pt x="1820" y="700"/>
                </a:lnTo>
                <a:lnTo>
                  <a:pt x="1817" y="694"/>
                </a:lnTo>
                <a:lnTo>
                  <a:pt x="1814" y="687"/>
                </a:lnTo>
                <a:lnTo>
                  <a:pt x="1810" y="681"/>
                </a:lnTo>
                <a:lnTo>
                  <a:pt x="1805" y="675"/>
                </a:lnTo>
                <a:lnTo>
                  <a:pt x="1799" y="669"/>
                </a:lnTo>
                <a:lnTo>
                  <a:pt x="1793" y="663"/>
                </a:lnTo>
                <a:lnTo>
                  <a:pt x="1786" y="658"/>
                </a:lnTo>
                <a:lnTo>
                  <a:pt x="1778" y="653"/>
                </a:lnTo>
                <a:lnTo>
                  <a:pt x="1768" y="650"/>
                </a:lnTo>
                <a:lnTo>
                  <a:pt x="1757" y="646"/>
                </a:lnTo>
                <a:lnTo>
                  <a:pt x="1746" y="644"/>
                </a:lnTo>
                <a:lnTo>
                  <a:pt x="1734" y="643"/>
                </a:lnTo>
                <a:lnTo>
                  <a:pt x="1734" y="643"/>
                </a:lnTo>
                <a:close/>
                <a:moveTo>
                  <a:pt x="336" y="1364"/>
                </a:moveTo>
                <a:lnTo>
                  <a:pt x="248" y="1257"/>
                </a:lnTo>
                <a:lnTo>
                  <a:pt x="311" y="690"/>
                </a:lnTo>
                <a:lnTo>
                  <a:pt x="355" y="688"/>
                </a:lnTo>
                <a:lnTo>
                  <a:pt x="417" y="1257"/>
                </a:lnTo>
                <a:lnTo>
                  <a:pt x="336" y="1364"/>
                </a:lnTo>
                <a:close/>
                <a:moveTo>
                  <a:pt x="588" y="596"/>
                </a:moveTo>
                <a:lnTo>
                  <a:pt x="588" y="596"/>
                </a:lnTo>
                <a:lnTo>
                  <a:pt x="589" y="585"/>
                </a:lnTo>
                <a:lnTo>
                  <a:pt x="590" y="573"/>
                </a:lnTo>
                <a:lnTo>
                  <a:pt x="593" y="564"/>
                </a:lnTo>
                <a:lnTo>
                  <a:pt x="596" y="555"/>
                </a:lnTo>
                <a:lnTo>
                  <a:pt x="600" y="546"/>
                </a:lnTo>
                <a:lnTo>
                  <a:pt x="606" y="540"/>
                </a:lnTo>
                <a:lnTo>
                  <a:pt x="612" y="532"/>
                </a:lnTo>
                <a:lnTo>
                  <a:pt x="617" y="526"/>
                </a:lnTo>
                <a:lnTo>
                  <a:pt x="625" y="521"/>
                </a:lnTo>
                <a:lnTo>
                  <a:pt x="633" y="515"/>
                </a:lnTo>
                <a:lnTo>
                  <a:pt x="641" y="510"/>
                </a:lnTo>
                <a:lnTo>
                  <a:pt x="649" y="506"/>
                </a:lnTo>
                <a:lnTo>
                  <a:pt x="668" y="500"/>
                </a:lnTo>
                <a:lnTo>
                  <a:pt x="687" y="496"/>
                </a:lnTo>
                <a:lnTo>
                  <a:pt x="778" y="480"/>
                </a:lnTo>
                <a:lnTo>
                  <a:pt x="893" y="718"/>
                </a:lnTo>
                <a:lnTo>
                  <a:pt x="1005" y="481"/>
                </a:lnTo>
                <a:lnTo>
                  <a:pt x="1110" y="497"/>
                </a:lnTo>
                <a:lnTo>
                  <a:pt x="1110" y="497"/>
                </a:lnTo>
                <a:lnTo>
                  <a:pt x="1129" y="500"/>
                </a:lnTo>
                <a:lnTo>
                  <a:pt x="1147" y="507"/>
                </a:lnTo>
                <a:lnTo>
                  <a:pt x="1155" y="510"/>
                </a:lnTo>
                <a:lnTo>
                  <a:pt x="1163" y="515"/>
                </a:lnTo>
                <a:lnTo>
                  <a:pt x="1170" y="521"/>
                </a:lnTo>
                <a:lnTo>
                  <a:pt x="1177" y="526"/>
                </a:lnTo>
                <a:lnTo>
                  <a:pt x="1183" y="533"/>
                </a:lnTo>
                <a:lnTo>
                  <a:pt x="1189" y="540"/>
                </a:lnTo>
                <a:lnTo>
                  <a:pt x="1193" y="548"/>
                </a:lnTo>
                <a:lnTo>
                  <a:pt x="1198" y="555"/>
                </a:lnTo>
                <a:lnTo>
                  <a:pt x="1201" y="564"/>
                </a:lnTo>
                <a:lnTo>
                  <a:pt x="1203" y="575"/>
                </a:lnTo>
                <a:lnTo>
                  <a:pt x="1204" y="585"/>
                </a:lnTo>
                <a:lnTo>
                  <a:pt x="1205" y="596"/>
                </a:lnTo>
                <a:lnTo>
                  <a:pt x="1205" y="1199"/>
                </a:lnTo>
                <a:lnTo>
                  <a:pt x="1107" y="1199"/>
                </a:lnTo>
                <a:lnTo>
                  <a:pt x="1085" y="1100"/>
                </a:lnTo>
                <a:lnTo>
                  <a:pt x="1085" y="796"/>
                </a:lnTo>
                <a:lnTo>
                  <a:pt x="1123" y="624"/>
                </a:lnTo>
                <a:lnTo>
                  <a:pt x="1095" y="617"/>
                </a:lnTo>
                <a:lnTo>
                  <a:pt x="1056" y="793"/>
                </a:lnTo>
                <a:lnTo>
                  <a:pt x="1056" y="1102"/>
                </a:lnTo>
                <a:lnTo>
                  <a:pt x="738" y="1102"/>
                </a:lnTo>
                <a:lnTo>
                  <a:pt x="738" y="793"/>
                </a:lnTo>
                <a:lnTo>
                  <a:pt x="698" y="617"/>
                </a:lnTo>
                <a:lnTo>
                  <a:pt x="670" y="624"/>
                </a:lnTo>
                <a:lnTo>
                  <a:pt x="709" y="796"/>
                </a:lnTo>
                <a:lnTo>
                  <a:pt x="709" y="1100"/>
                </a:lnTo>
                <a:lnTo>
                  <a:pt x="685" y="1199"/>
                </a:lnTo>
                <a:lnTo>
                  <a:pt x="588" y="1199"/>
                </a:lnTo>
                <a:lnTo>
                  <a:pt x="588" y="596"/>
                </a:lnTo>
                <a:close/>
                <a:moveTo>
                  <a:pt x="1205" y="1229"/>
                </a:moveTo>
                <a:lnTo>
                  <a:pt x="1205" y="1230"/>
                </a:lnTo>
                <a:lnTo>
                  <a:pt x="1151" y="1390"/>
                </a:lnTo>
                <a:lnTo>
                  <a:pt x="1114" y="1229"/>
                </a:lnTo>
                <a:lnTo>
                  <a:pt x="1205" y="1229"/>
                </a:lnTo>
                <a:close/>
                <a:moveTo>
                  <a:pt x="588" y="1229"/>
                </a:moveTo>
                <a:lnTo>
                  <a:pt x="678" y="1229"/>
                </a:lnTo>
                <a:lnTo>
                  <a:pt x="642" y="1383"/>
                </a:lnTo>
                <a:lnTo>
                  <a:pt x="588" y="1229"/>
                </a:lnTo>
                <a:lnTo>
                  <a:pt x="588" y="1229"/>
                </a:lnTo>
                <a:close/>
                <a:moveTo>
                  <a:pt x="553" y="1969"/>
                </a:moveTo>
                <a:lnTo>
                  <a:pt x="735" y="1129"/>
                </a:lnTo>
                <a:lnTo>
                  <a:pt x="1056" y="1129"/>
                </a:lnTo>
                <a:lnTo>
                  <a:pt x="1250" y="1969"/>
                </a:lnTo>
                <a:lnTo>
                  <a:pt x="553" y="1969"/>
                </a:lnTo>
                <a:close/>
                <a:moveTo>
                  <a:pt x="1489" y="1387"/>
                </a:moveTo>
                <a:lnTo>
                  <a:pt x="1403" y="1279"/>
                </a:lnTo>
                <a:lnTo>
                  <a:pt x="1465" y="688"/>
                </a:lnTo>
                <a:lnTo>
                  <a:pt x="1508" y="690"/>
                </a:lnTo>
                <a:lnTo>
                  <a:pt x="1572" y="1279"/>
                </a:lnTo>
                <a:lnTo>
                  <a:pt x="1489" y="1387"/>
                </a:lnTo>
                <a:close/>
                <a:moveTo>
                  <a:pt x="776" y="382"/>
                </a:moveTo>
                <a:lnTo>
                  <a:pt x="776" y="382"/>
                </a:lnTo>
                <a:lnTo>
                  <a:pt x="791" y="382"/>
                </a:lnTo>
                <a:lnTo>
                  <a:pt x="804" y="381"/>
                </a:lnTo>
                <a:lnTo>
                  <a:pt x="814" y="380"/>
                </a:lnTo>
                <a:lnTo>
                  <a:pt x="822" y="379"/>
                </a:lnTo>
                <a:lnTo>
                  <a:pt x="822" y="379"/>
                </a:lnTo>
                <a:lnTo>
                  <a:pt x="838" y="388"/>
                </a:lnTo>
                <a:lnTo>
                  <a:pt x="856" y="395"/>
                </a:lnTo>
                <a:lnTo>
                  <a:pt x="865" y="398"/>
                </a:lnTo>
                <a:lnTo>
                  <a:pt x="874" y="399"/>
                </a:lnTo>
                <a:lnTo>
                  <a:pt x="884" y="400"/>
                </a:lnTo>
                <a:lnTo>
                  <a:pt x="894" y="401"/>
                </a:lnTo>
                <a:lnTo>
                  <a:pt x="894" y="401"/>
                </a:lnTo>
                <a:lnTo>
                  <a:pt x="905" y="400"/>
                </a:lnTo>
                <a:lnTo>
                  <a:pt x="914" y="399"/>
                </a:lnTo>
                <a:lnTo>
                  <a:pt x="924" y="398"/>
                </a:lnTo>
                <a:lnTo>
                  <a:pt x="933" y="395"/>
                </a:lnTo>
                <a:lnTo>
                  <a:pt x="942" y="391"/>
                </a:lnTo>
                <a:lnTo>
                  <a:pt x="951" y="388"/>
                </a:lnTo>
                <a:lnTo>
                  <a:pt x="968" y="378"/>
                </a:lnTo>
                <a:lnTo>
                  <a:pt x="968" y="378"/>
                </a:lnTo>
                <a:lnTo>
                  <a:pt x="998" y="380"/>
                </a:lnTo>
                <a:lnTo>
                  <a:pt x="1032" y="380"/>
                </a:lnTo>
                <a:lnTo>
                  <a:pt x="1048" y="380"/>
                </a:lnTo>
                <a:lnTo>
                  <a:pt x="1062" y="379"/>
                </a:lnTo>
                <a:lnTo>
                  <a:pt x="1072" y="377"/>
                </a:lnTo>
                <a:lnTo>
                  <a:pt x="1077" y="376"/>
                </a:lnTo>
                <a:lnTo>
                  <a:pt x="1079" y="373"/>
                </a:lnTo>
                <a:lnTo>
                  <a:pt x="1079" y="373"/>
                </a:lnTo>
                <a:lnTo>
                  <a:pt x="1083" y="370"/>
                </a:lnTo>
                <a:lnTo>
                  <a:pt x="1085" y="363"/>
                </a:lnTo>
                <a:lnTo>
                  <a:pt x="1087" y="354"/>
                </a:lnTo>
                <a:lnTo>
                  <a:pt x="1088" y="343"/>
                </a:lnTo>
                <a:lnTo>
                  <a:pt x="1090" y="316"/>
                </a:lnTo>
                <a:lnTo>
                  <a:pt x="1090" y="283"/>
                </a:lnTo>
                <a:lnTo>
                  <a:pt x="1089" y="247"/>
                </a:lnTo>
                <a:lnTo>
                  <a:pt x="1087" y="213"/>
                </a:lnTo>
                <a:lnTo>
                  <a:pt x="1084" y="179"/>
                </a:lnTo>
                <a:lnTo>
                  <a:pt x="1079" y="150"/>
                </a:lnTo>
                <a:lnTo>
                  <a:pt x="1079" y="150"/>
                </a:lnTo>
                <a:lnTo>
                  <a:pt x="1077" y="136"/>
                </a:lnTo>
                <a:lnTo>
                  <a:pt x="1072" y="123"/>
                </a:lnTo>
                <a:lnTo>
                  <a:pt x="1068" y="110"/>
                </a:lnTo>
                <a:lnTo>
                  <a:pt x="1063" y="97"/>
                </a:lnTo>
                <a:lnTo>
                  <a:pt x="1057" y="84"/>
                </a:lnTo>
                <a:lnTo>
                  <a:pt x="1049" y="72"/>
                </a:lnTo>
                <a:lnTo>
                  <a:pt x="1040" y="60"/>
                </a:lnTo>
                <a:lnTo>
                  <a:pt x="1030" y="48"/>
                </a:lnTo>
                <a:lnTo>
                  <a:pt x="1018" y="38"/>
                </a:lnTo>
                <a:lnTo>
                  <a:pt x="1005" y="29"/>
                </a:lnTo>
                <a:lnTo>
                  <a:pt x="990" y="20"/>
                </a:lnTo>
                <a:lnTo>
                  <a:pt x="973" y="13"/>
                </a:lnTo>
                <a:lnTo>
                  <a:pt x="955" y="8"/>
                </a:lnTo>
                <a:lnTo>
                  <a:pt x="935" y="3"/>
                </a:lnTo>
                <a:lnTo>
                  <a:pt x="913" y="1"/>
                </a:lnTo>
                <a:lnTo>
                  <a:pt x="889" y="0"/>
                </a:lnTo>
                <a:lnTo>
                  <a:pt x="889" y="0"/>
                </a:lnTo>
                <a:lnTo>
                  <a:pt x="865" y="1"/>
                </a:lnTo>
                <a:lnTo>
                  <a:pt x="843" y="4"/>
                </a:lnTo>
                <a:lnTo>
                  <a:pt x="824" y="10"/>
                </a:lnTo>
                <a:lnTo>
                  <a:pt x="807" y="17"/>
                </a:lnTo>
                <a:lnTo>
                  <a:pt x="791" y="25"/>
                </a:lnTo>
                <a:lnTo>
                  <a:pt x="778" y="35"/>
                </a:lnTo>
                <a:lnTo>
                  <a:pt x="766" y="45"/>
                </a:lnTo>
                <a:lnTo>
                  <a:pt x="757" y="56"/>
                </a:lnTo>
                <a:lnTo>
                  <a:pt x="748" y="69"/>
                </a:lnTo>
                <a:lnTo>
                  <a:pt x="741" y="81"/>
                </a:lnTo>
                <a:lnTo>
                  <a:pt x="736" y="93"/>
                </a:lnTo>
                <a:lnTo>
                  <a:pt x="731" y="106"/>
                </a:lnTo>
                <a:lnTo>
                  <a:pt x="727" y="117"/>
                </a:lnTo>
                <a:lnTo>
                  <a:pt x="724" y="128"/>
                </a:lnTo>
                <a:lnTo>
                  <a:pt x="720" y="147"/>
                </a:lnTo>
                <a:lnTo>
                  <a:pt x="720" y="147"/>
                </a:lnTo>
                <a:lnTo>
                  <a:pt x="714" y="196"/>
                </a:lnTo>
                <a:lnTo>
                  <a:pt x="707" y="259"/>
                </a:lnTo>
                <a:lnTo>
                  <a:pt x="703" y="316"/>
                </a:lnTo>
                <a:lnTo>
                  <a:pt x="703" y="337"/>
                </a:lnTo>
                <a:lnTo>
                  <a:pt x="704" y="349"/>
                </a:lnTo>
                <a:lnTo>
                  <a:pt x="704" y="349"/>
                </a:lnTo>
                <a:lnTo>
                  <a:pt x="705" y="354"/>
                </a:lnTo>
                <a:lnTo>
                  <a:pt x="709" y="360"/>
                </a:lnTo>
                <a:lnTo>
                  <a:pt x="713" y="365"/>
                </a:lnTo>
                <a:lnTo>
                  <a:pt x="721" y="371"/>
                </a:lnTo>
                <a:lnTo>
                  <a:pt x="730" y="376"/>
                </a:lnTo>
                <a:lnTo>
                  <a:pt x="742" y="379"/>
                </a:lnTo>
                <a:lnTo>
                  <a:pt x="757" y="381"/>
                </a:lnTo>
                <a:lnTo>
                  <a:pt x="776" y="382"/>
                </a:lnTo>
                <a:lnTo>
                  <a:pt x="776" y="382"/>
                </a:lnTo>
                <a:close/>
                <a:moveTo>
                  <a:pt x="780" y="210"/>
                </a:moveTo>
                <a:lnTo>
                  <a:pt x="780" y="210"/>
                </a:lnTo>
                <a:lnTo>
                  <a:pt x="781" y="192"/>
                </a:lnTo>
                <a:lnTo>
                  <a:pt x="784" y="175"/>
                </a:lnTo>
                <a:lnTo>
                  <a:pt x="784" y="175"/>
                </a:lnTo>
                <a:lnTo>
                  <a:pt x="789" y="181"/>
                </a:lnTo>
                <a:lnTo>
                  <a:pt x="794" y="186"/>
                </a:lnTo>
                <a:lnTo>
                  <a:pt x="801" y="190"/>
                </a:lnTo>
                <a:lnTo>
                  <a:pt x="810" y="193"/>
                </a:lnTo>
                <a:lnTo>
                  <a:pt x="819" y="197"/>
                </a:lnTo>
                <a:lnTo>
                  <a:pt x="831" y="198"/>
                </a:lnTo>
                <a:lnTo>
                  <a:pt x="845" y="199"/>
                </a:lnTo>
                <a:lnTo>
                  <a:pt x="861" y="198"/>
                </a:lnTo>
                <a:lnTo>
                  <a:pt x="861" y="198"/>
                </a:lnTo>
                <a:lnTo>
                  <a:pt x="879" y="195"/>
                </a:lnTo>
                <a:lnTo>
                  <a:pt x="893" y="190"/>
                </a:lnTo>
                <a:lnTo>
                  <a:pt x="919" y="180"/>
                </a:lnTo>
                <a:lnTo>
                  <a:pt x="934" y="175"/>
                </a:lnTo>
                <a:lnTo>
                  <a:pt x="952" y="171"/>
                </a:lnTo>
                <a:lnTo>
                  <a:pt x="973" y="169"/>
                </a:lnTo>
                <a:lnTo>
                  <a:pt x="1001" y="168"/>
                </a:lnTo>
                <a:lnTo>
                  <a:pt x="1001" y="168"/>
                </a:lnTo>
                <a:lnTo>
                  <a:pt x="1005" y="178"/>
                </a:lnTo>
                <a:lnTo>
                  <a:pt x="1007" y="188"/>
                </a:lnTo>
                <a:lnTo>
                  <a:pt x="1008" y="199"/>
                </a:lnTo>
                <a:lnTo>
                  <a:pt x="1008" y="210"/>
                </a:lnTo>
                <a:lnTo>
                  <a:pt x="1008" y="244"/>
                </a:lnTo>
                <a:lnTo>
                  <a:pt x="1008" y="244"/>
                </a:lnTo>
                <a:lnTo>
                  <a:pt x="1008" y="257"/>
                </a:lnTo>
                <a:lnTo>
                  <a:pt x="1006" y="270"/>
                </a:lnTo>
                <a:lnTo>
                  <a:pt x="1004" y="282"/>
                </a:lnTo>
                <a:lnTo>
                  <a:pt x="999" y="293"/>
                </a:lnTo>
                <a:lnTo>
                  <a:pt x="995" y="305"/>
                </a:lnTo>
                <a:lnTo>
                  <a:pt x="989" y="316"/>
                </a:lnTo>
                <a:lnTo>
                  <a:pt x="982" y="325"/>
                </a:lnTo>
                <a:lnTo>
                  <a:pt x="974" y="334"/>
                </a:lnTo>
                <a:lnTo>
                  <a:pt x="967" y="343"/>
                </a:lnTo>
                <a:lnTo>
                  <a:pt x="958" y="350"/>
                </a:lnTo>
                <a:lnTo>
                  <a:pt x="949" y="356"/>
                </a:lnTo>
                <a:lnTo>
                  <a:pt x="938" y="362"/>
                </a:lnTo>
                <a:lnTo>
                  <a:pt x="928" y="365"/>
                </a:lnTo>
                <a:lnTo>
                  <a:pt x="917" y="369"/>
                </a:lnTo>
                <a:lnTo>
                  <a:pt x="906" y="371"/>
                </a:lnTo>
                <a:lnTo>
                  <a:pt x="894" y="371"/>
                </a:lnTo>
                <a:lnTo>
                  <a:pt x="894" y="371"/>
                </a:lnTo>
                <a:lnTo>
                  <a:pt x="883" y="371"/>
                </a:lnTo>
                <a:lnTo>
                  <a:pt x="872" y="369"/>
                </a:lnTo>
                <a:lnTo>
                  <a:pt x="861" y="365"/>
                </a:lnTo>
                <a:lnTo>
                  <a:pt x="851" y="362"/>
                </a:lnTo>
                <a:lnTo>
                  <a:pt x="840" y="356"/>
                </a:lnTo>
                <a:lnTo>
                  <a:pt x="831" y="350"/>
                </a:lnTo>
                <a:lnTo>
                  <a:pt x="822" y="343"/>
                </a:lnTo>
                <a:lnTo>
                  <a:pt x="813" y="334"/>
                </a:lnTo>
                <a:lnTo>
                  <a:pt x="807" y="325"/>
                </a:lnTo>
                <a:lnTo>
                  <a:pt x="800" y="316"/>
                </a:lnTo>
                <a:lnTo>
                  <a:pt x="794" y="305"/>
                </a:lnTo>
                <a:lnTo>
                  <a:pt x="789" y="293"/>
                </a:lnTo>
                <a:lnTo>
                  <a:pt x="785" y="282"/>
                </a:lnTo>
                <a:lnTo>
                  <a:pt x="782" y="270"/>
                </a:lnTo>
                <a:lnTo>
                  <a:pt x="781" y="257"/>
                </a:lnTo>
                <a:lnTo>
                  <a:pt x="780" y="244"/>
                </a:lnTo>
                <a:lnTo>
                  <a:pt x="780" y="21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430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Thought Bubble: Cloud 14">
            <a:extLst>
              <a:ext uri="{FF2B5EF4-FFF2-40B4-BE49-F238E27FC236}">
                <a16:creationId xmlns:a16="http://schemas.microsoft.com/office/drawing/2014/main" id="{3F2D06D1-1BEA-45DF-8CC9-7856F4954B4F}"/>
              </a:ext>
            </a:extLst>
          </p:cNvPr>
          <p:cNvSpPr/>
          <p:nvPr/>
        </p:nvSpPr>
        <p:spPr>
          <a:xfrm>
            <a:off x="6703578" y="1368220"/>
            <a:ext cx="2817730" cy="1414093"/>
          </a:xfrm>
          <a:prstGeom prst="cloudCallout">
            <a:avLst>
              <a:gd name="adj1" fmla="val -58309"/>
              <a:gd name="adj2" fmla="val 5603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050" dirty="0"/>
              <a:t>“I need a clear indication of the level of funds available for use at a point in time, with a consistent answer no matter who I ask”</a:t>
            </a:r>
          </a:p>
        </p:txBody>
      </p:sp>
      <p:sp>
        <p:nvSpPr>
          <p:cNvPr id="16" name="Thought Bubble: Cloud 15">
            <a:extLst>
              <a:ext uri="{FF2B5EF4-FFF2-40B4-BE49-F238E27FC236}">
                <a16:creationId xmlns:a16="http://schemas.microsoft.com/office/drawing/2014/main" id="{3A94D662-CD0E-445E-BD04-E22EB6249F33}"/>
              </a:ext>
            </a:extLst>
          </p:cNvPr>
          <p:cNvSpPr/>
          <p:nvPr/>
        </p:nvSpPr>
        <p:spPr>
          <a:xfrm>
            <a:off x="7798305" y="3033376"/>
            <a:ext cx="2666180" cy="1173353"/>
          </a:xfrm>
          <a:prstGeom prst="cloudCallout">
            <a:avLst>
              <a:gd name="adj1" fmla="val -79628"/>
              <a:gd name="adj2" fmla="val -2304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050" dirty="0"/>
              <a:t>“We need a single point of contact who knows the systems and knows schools”</a:t>
            </a:r>
          </a:p>
        </p:txBody>
      </p:sp>
      <p:sp>
        <p:nvSpPr>
          <p:cNvPr id="18" name="Thought Bubble: Cloud 17">
            <a:extLst>
              <a:ext uri="{FF2B5EF4-FFF2-40B4-BE49-F238E27FC236}">
                <a16:creationId xmlns:a16="http://schemas.microsoft.com/office/drawing/2014/main" id="{7D69F5EB-4142-4599-B1B2-072E75DC887B}"/>
              </a:ext>
            </a:extLst>
          </p:cNvPr>
          <p:cNvSpPr/>
          <p:nvPr/>
        </p:nvSpPr>
        <p:spPr>
          <a:xfrm>
            <a:off x="1407282" y="1740448"/>
            <a:ext cx="2627163" cy="1272145"/>
          </a:xfrm>
          <a:prstGeom prst="cloudCallout">
            <a:avLst>
              <a:gd name="adj1" fmla="val 73487"/>
              <a:gd name="adj2" fmla="val 2537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050" dirty="0"/>
              <a:t>“Schools need help in understanding how to phase their budget”</a:t>
            </a:r>
          </a:p>
        </p:txBody>
      </p:sp>
      <p:sp>
        <p:nvSpPr>
          <p:cNvPr id="19" name="Thought Bubble: Cloud 18">
            <a:extLst>
              <a:ext uri="{FF2B5EF4-FFF2-40B4-BE49-F238E27FC236}">
                <a16:creationId xmlns:a16="http://schemas.microsoft.com/office/drawing/2014/main" id="{68F51FC8-9080-4A42-831C-8CD01777639A}"/>
              </a:ext>
            </a:extLst>
          </p:cNvPr>
          <p:cNvSpPr/>
          <p:nvPr/>
        </p:nvSpPr>
        <p:spPr>
          <a:xfrm>
            <a:off x="315884" y="3247441"/>
            <a:ext cx="3260793" cy="1534971"/>
          </a:xfrm>
          <a:prstGeom prst="cloudCallout">
            <a:avLst>
              <a:gd name="adj1" fmla="val 68119"/>
              <a:gd name="adj2" fmla="val -3490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050" dirty="0"/>
              <a:t>“Without finance specialists working within schools, they will never really know how they are performing. The advice provided by ‘Finance’ will never be enough”</a:t>
            </a:r>
          </a:p>
        </p:txBody>
      </p:sp>
      <p:sp>
        <p:nvSpPr>
          <p:cNvPr id="20" name="Thought Bubble: Cloud 19">
            <a:extLst>
              <a:ext uri="{FF2B5EF4-FFF2-40B4-BE49-F238E27FC236}">
                <a16:creationId xmlns:a16="http://schemas.microsoft.com/office/drawing/2014/main" id="{873C9411-7DAA-4769-885E-751D0919B9A2}"/>
              </a:ext>
            </a:extLst>
          </p:cNvPr>
          <p:cNvSpPr/>
          <p:nvPr/>
        </p:nvSpPr>
        <p:spPr>
          <a:xfrm>
            <a:off x="1140398" y="5150474"/>
            <a:ext cx="4044533" cy="814298"/>
          </a:xfrm>
          <a:prstGeom prst="cloudCallout">
            <a:avLst>
              <a:gd name="adj1" fmla="val 34745"/>
              <a:gd name="adj2" fmla="val -13453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dirty="0"/>
              <a:t>“We need faster turnaround time for queries. It can take up to three days”</a:t>
            </a:r>
          </a:p>
        </p:txBody>
      </p:sp>
      <p:sp>
        <p:nvSpPr>
          <p:cNvPr id="21" name="Thought Bubble: Cloud 20">
            <a:extLst>
              <a:ext uri="{FF2B5EF4-FFF2-40B4-BE49-F238E27FC236}">
                <a16:creationId xmlns:a16="http://schemas.microsoft.com/office/drawing/2014/main" id="{2F476D06-28AB-41CC-AE03-AE1A50E165B0}"/>
              </a:ext>
            </a:extLst>
          </p:cNvPr>
          <p:cNvSpPr/>
          <p:nvPr/>
        </p:nvSpPr>
        <p:spPr>
          <a:xfrm>
            <a:off x="8013128" y="4293099"/>
            <a:ext cx="3016361" cy="1540353"/>
          </a:xfrm>
          <a:prstGeom prst="cloudCallout">
            <a:avLst>
              <a:gd name="adj1" fmla="val -80228"/>
              <a:gd name="adj2" fmla="val -6184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050" dirty="0"/>
              <a:t>“We need the ability to manage our finances in alignment with our strategic plan. There needs to be a tailored approach to the audience”</a:t>
            </a:r>
          </a:p>
        </p:txBody>
      </p:sp>
      <p:sp>
        <p:nvSpPr>
          <p:cNvPr id="25" name="Thought Bubble: Cloud 24">
            <a:extLst>
              <a:ext uri="{FF2B5EF4-FFF2-40B4-BE49-F238E27FC236}">
                <a16:creationId xmlns:a16="http://schemas.microsoft.com/office/drawing/2014/main" id="{B69424AE-E764-4AE6-9233-978E03FEAB20}"/>
              </a:ext>
            </a:extLst>
          </p:cNvPr>
          <p:cNvSpPr/>
          <p:nvPr/>
        </p:nvSpPr>
        <p:spPr>
          <a:xfrm>
            <a:off x="5425440" y="5081847"/>
            <a:ext cx="2676569" cy="1164618"/>
          </a:xfrm>
          <a:prstGeom prst="cloudCallout">
            <a:avLst>
              <a:gd name="adj1" fmla="val -23741"/>
              <a:gd name="adj2" fmla="val -11454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050" dirty="0"/>
              <a:t>“We need clearer rules and guidance, with easy to understand documents”</a:t>
            </a:r>
          </a:p>
        </p:txBody>
      </p:sp>
      <p:sp>
        <p:nvSpPr>
          <p:cNvPr id="26" name="Thought Bubble: Cloud 25">
            <a:extLst>
              <a:ext uri="{FF2B5EF4-FFF2-40B4-BE49-F238E27FC236}">
                <a16:creationId xmlns:a16="http://schemas.microsoft.com/office/drawing/2014/main" id="{64C489EC-E7CE-4523-A10D-68D15A50E148}"/>
              </a:ext>
            </a:extLst>
          </p:cNvPr>
          <p:cNvSpPr/>
          <p:nvPr/>
        </p:nvSpPr>
        <p:spPr>
          <a:xfrm>
            <a:off x="4034445" y="1436607"/>
            <a:ext cx="2104990" cy="710250"/>
          </a:xfrm>
          <a:prstGeom prst="cloudCallout">
            <a:avLst>
              <a:gd name="adj1" fmla="val 27731"/>
              <a:gd name="adj2" fmla="val 16899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050" dirty="0"/>
              <a:t>“Escalation points are needed”</a:t>
            </a:r>
          </a:p>
        </p:txBody>
      </p:sp>
    </p:spTree>
    <p:extLst>
      <p:ext uri="{BB962C8B-B14F-4D97-AF65-F5344CB8AC3E}">
        <p14:creationId xmlns:p14="http://schemas.microsoft.com/office/powerpoint/2010/main" val="20412824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ase for change to achieve our vis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064"/>
            <a:fld id="{486CE74F-C2F5-4075-B958-FFE3174EE3A5}" type="datetime4">
              <a:rPr lang="en-AU">
                <a:solidFill>
                  <a:srgbClr val="425968"/>
                </a:solidFill>
                <a:latin typeface="Montserrat Light"/>
              </a:rPr>
              <a:pPr defTabSz="1219064"/>
              <a:t>28 November 2018</a:t>
            </a:fld>
            <a:endParaRPr lang="en-AU" dirty="0">
              <a:solidFill>
                <a:srgbClr val="425968"/>
              </a:solidFill>
              <a:latin typeface="Montserrat Light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064"/>
            <a:r>
              <a:rPr lang="en-AU" dirty="0">
                <a:solidFill>
                  <a:srgbClr val="425968"/>
                </a:solidFill>
                <a:latin typeface="Montserrat Light"/>
              </a:rPr>
              <a:t>© NSW Department of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064"/>
            <a:r>
              <a:rPr lang="en-AU" dirty="0">
                <a:solidFill>
                  <a:srgbClr val="425968"/>
                </a:solidFill>
                <a:latin typeface="Montserrat Light"/>
              </a:rPr>
              <a:t>Page </a:t>
            </a:r>
            <a:fld id="{4A2A1DA9-8CAF-4BCA-B496-545B076AED2D}" type="slidenum">
              <a:rPr lang="en-AU">
                <a:solidFill>
                  <a:srgbClr val="425968"/>
                </a:solidFill>
                <a:latin typeface="Montserrat Light"/>
              </a:rPr>
              <a:pPr defTabSz="1219064"/>
              <a:t>6</a:t>
            </a:fld>
            <a:endParaRPr lang="en-AU" dirty="0">
              <a:solidFill>
                <a:srgbClr val="425968"/>
              </a:solidFill>
              <a:latin typeface="Montserrat Light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AU" dirty="0"/>
              <a:t>Subset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99712" y="1379887"/>
            <a:ext cx="10992576" cy="4596131"/>
          </a:xfrm>
          <a:prstGeom prst="rect">
            <a:avLst/>
          </a:prstGeom>
        </p:spPr>
        <p:txBody>
          <a:bodyPr vert="horz" lIns="0" tIns="60960" rIns="121920" bIns="60960" rtlCol="0">
            <a:noAutofit/>
          </a:bodyPr>
          <a:lstStyle/>
          <a:p>
            <a:pPr lvl="1" defTabSz="1219064">
              <a:spcBef>
                <a:spcPts val="1600"/>
              </a:spcBef>
            </a:pPr>
            <a:endParaRPr lang="en-AU" sz="1200" dirty="0">
              <a:solidFill>
                <a:srgbClr val="425968"/>
              </a:solidFill>
              <a:latin typeface="Montserrat"/>
            </a:endParaRPr>
          </a:p>
        </p:txBody>
      </p:sp>
      <p:sp>
        <p:nvSpPr>
          <p:cNvPr id="9" name="Content Placeholder 10"/>
          <p:cNvSpPr>
            <a:spLocks noGrp="1"/>
          </p:cNvSpPr>
          <p:nvPr>
            <p:ph idx="1"/>
          </p:nvPr>
        </p:nvSpPr>
        <p:spPr>
          <a:xfrm>
            <a:off x="695814" y="1474473"/>
            <a:ext cx="10539454" cy="4820201"/>
          </a:xfrm>
        </p:spPr>
        <p:txBody>
          <a:bodyPr>
            <a:no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AU" sz="2000" dirty="0"/>
              <a:t>Improve our </a:t>
            </a:r>
            <a:r>
              <a:rPr lang="en-AU" sz="2000" b="1" dirty="0"/>
              <a:t>culture and engagement </a:t>
            </a:r>
            <a:r>
              <a:rPr lang="en-AU" sz="2000" dirty="0"/>
              <a:t>- our people experience </a:t>
            </a:r>
            <a:r>
              <a:rPr lang="en-AU" sz="2000" b="1" dirty="0"/>
              <a:t>frustration and confusion </a:t>
            </a:r>
            <a:r>
              <a:rPr lang="en-AU" sz="2000" dirty="0"/>
              <a:t>in doing their day to day role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AU" sz="2000" dirty="0"/>
              <a:t>Our customers tell us we need to </a:t>
            </a:r>
            <a:r>
              <a:rPr lang="en-AU" sz="2000" b="1" dirty="0"/>
              <a:t>improve how we connect </a:t>
            </a:r>
            <a:r>
              <a:rPr lang="en-AU" sz="2000" dirty="0"/>
              <a:t>with them and </a:t>
            </a:r>
            <a:r>
              <a:rPr lang="en-AU" sz="2000" b="1" dirty="0"/>
              <a:t>delivery consistent service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AU" sz="2000" dirty="0"/>
              <a:t>We can add a lot of </a:t>
            </a:r>
            <a:r>
              <a:rPr lang="en-AU" sz="2000" b="1" dirty="0"/>
              <a:t>strategic advisory / value </a:t>
            </a:r>
            <a:r>
              <a:rPr lang="en-AU" sz="2000" dirty="0"/>
              <a:t>to our customers but cannot do this until we change how we operate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AU" sz="2000" dirty="0"/>
              <a:t>Work is being </a:t>
            </a:r>
            <a:r>
              <a:rPr lang="en-AU" sz="2000" b="1" dirty="0"/>
              <a:t>duplicated</a:t>
            </a:r>
            <a:r>
              <a:rPr lang="en-AU" sz="2000" dirty="0"/>
              <a:t> unnecessarily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AU" sz="2000" dirty="0"/>
              <a:t>We are working in </a:t>
            </a:r>
            <a:r>
              <a:rPr lang="en-AU" sz="2000" b="1" dirty="0"/>
              <a:t>silos</a:t>
            </a:r>
            <a:r>
              <a:rPr lang="en-AU" sz="2000" dirty="0"/>
              <a:t> across DOE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AU" sz="2000" dirty="0"/>
              <a:t>Lack of accountability, </a:t>
            </a:r>
            <a:r>
              <a:rPr lang="en-AU" sz="2000" b="1" dirty="0"/>
              <a:t>unclear RACI </a:t>
            </a:r>
            <a:r>
              <a:rPr lang="en-AU" sz="2000" dirty="0"/>
              <a:t>(Responsible, Accountable, Consulted, Informed)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AU" sz="2000" dirty="0"/>
              <a:t>The </a:t>
            </a:r>
            <a:r>
              <a:rPr lang="en-AU" sz="2000" b="1" dirty="0"/>
              <a:t>environment is changing </a:t>
            </a:r>
            <a:r>
              <a:rPr lang="en-AU" sz="2000" dirty="0"/>
              <a:t>(including external expectations of DOE)</a:t>
            </a:r>
            <a:r>
              <a:rPr lang="en-AU" sz="1466" dirty="0"/>
              <a:t>	</a:t>
            </a:r>
          </a:p>
        </p:txBody>
      </p:sp>
      <p:sp>
        <p:nvSpPr>
          <p:cNvPr id="11" name="Title 9"/>
          <p:cNvSpPr txBox="1">
            <a:spLocks/>
          </p:cNvSpPr>
          <p:nvPr/>
        </p:nvSpPr>
        <p:spPr>
          <a:xfrm>
            <a:off x="527381" y="6651491"/>
            <a:ext cx="4536059" cy="206509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 defTabSz="1219194" rtl="0" eaLnBrk="1" latinLnBrk="0" hangingPunct="1">
              <a:spcBef>
                <a:spcPct val="0"/>
              </a:spcBef>
              <a:buNone/>
              <a:defRPr sz="3733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sz="1000" dirty="0">
                <a:solidFill>
                  <a:srgbClr val="FF0000"/>
                </a:solidFill>
              </a:rPr>
              <a:t>Confidential, not for distribution, subject to consultation</a:t>
            </a:r>
          </a:p>
        </p:txBody>
      </p:sp>
    </p:spTree>
    <p:extLst>
      <p:ext uri="{BB962C8B-B14F-4D97-AF65-F5344CB8AC3E}">
        <p14:creationId xmlns:p14="http://schemas.microsoft.com/office/powerpoint/2010/main" val="91561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roject stages</a:t>
            </a:r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828180" y="1456684"/>
            <a:ext cx="5704963" cy="4708525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CE74F-C2F5-4075-B958-FFE3174EE3A5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NSW Department of Education | Document title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/>
              <a:t>Page </a:t>
            </a:r>
            <a:fld id="{4A2A1DA9-8CAF-4BCA-B496-545B076AED2D}" type="slidenum">
              <a:rPr lang="en-AU" smtClean="0"/>
              <a:pPr/>
              <a:t>7</a:t>
            </a:fld>
            <a:endParaRPr lang="en-AU" dirty="0"/>
          </a:p>
        </p:txBody>
      </p:sp>
      <p:sp>
        <p:nvSpPr>
          <p:cNvPr id="7" name="Content Placeholder 6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781003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ROJECT </a:t>
            </a:r>
            <a:r>
              <a:rPr lang="en-AU" dirty="0" err="1"/>
              <a:t>OBJEcTIVES</a:t>
            </a:r>
            <a:r>
              <a:rPr lang="en-AU" dirty="0"/>
              <a:t> / TARGET outcom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064"/>
            <a:fld id="{486CE74F-C2F5-4075-B958-FFE3174EE3A5}" type="datetime4">
              <a:rPr lang="en-AU">
                <a:solidFill>
                  <a:srgbClr val="425968"/>
                </a:solidFill>
                <a:latin typeface="Montserrat Light"/>
              </a:rPr>
              <a:pPr defTabSz="1219064"/>
              <a:t>28 November 2018</a:t>
            </a:fld>
            <a:endParaRPr lang="en-AU" dirty="0">
              <a:solidFill>
                <a:srgbClr val="425968"/>
              </a:solidFill>
              <a:latin typeface="Montserrat Light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064"/>
            <a:r>
              <a:rPr lang="en-AU" dirty="0">
                <a:solidFill>
                  <a:srgbClr val="425968"/>
                </a:solidFill>
                <a:latin typeface="Montserrat Light"/>
              </a:rPr>
              <a:t>© NSW Department of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064"/>
            <a:r>
              <a:rPr lang="en-AU" dirty="0">
                <a:solidFill>
                  <a:srgbClr val="425968"/>
                </a:solidFill>
                <a:latin typeface="Montserrat Light"/>
              </a:rPr>
              <a:t>Page </a:t>
            </a:r>
            <a:fld id="{4A2A1DA9-8CAF-4BCA-B496-545B076AED2D}" type="slidenum">
              <a:rPr lang="en-AU">
                <a:solidFill>
                  <a:srgbClr val="425968"/>
                </a:solidFill>
                <a:latin typeface="Montserrat Light"/>
              </a:rPr>
              <a:pPr defTabSz="1219064"/>
              <a:t>8</a:t>
            </a:fld>
            <a:endParaRPr lang="en-AU" dirty="0">
              <a:solidFill>
                <a:srgbClr val="425968"/>
              </a:solidFill>
              <a:latin typeface="Montserrat Light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AU" dirty="0"/>
              <a:t>Finance Operating Model and Service Delivery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99712" y="1379887"/>
            <a:ext cx="10992576" cy="4596131"/>
          </a:xfrm>
          <a:prstGeom prst="rect">
            <a:avLst/>
          </a:prstGeom>
        </p:spPr>
        <p:txBody>
          <a:bodyPr vert="horz" lIns="0" tIns="60960" rIns="121920" bIns="60960" rtlCol="0">
            <a:noAutofit/>
          </a:bodyPr>
          <a:lstStyle/>
          <a:p>
            <a:pPr lvl="1" defTabSz="1219064">
              <a:spcBef>
                <a:spcPts val="1600"/>
              </a:spcBef>
            </a:pPr>
            <a:endParaRPr lang="en-AU" sz="1200" dirty="0">
              <a:solidFill>
                <a:srgbClr val="425968"/>
              </a:solidFill>
              <a:latin typeface="Montserrat"/>
            </a:endParaRPr>
          </a:p>
        </p:txBody>
      </p:sp>
      <p:sp>
        <p:nvSpPr>
          <p:cNvPr id="9" name="Content Placeholder 10"/>
          <p:cNvSpPr>
            <a:spLocks noGrp="1"/>
          </p:cNvSpPr>
          <p:nvPr>
            <p:ph idx="1"/>
          </p:nvPr>
        </p:nvSpPr>
        <p:spPr>
          <a:xfrm>
            <a:off x="578181" y="1727864"/>
            <a:ext cx="11041227" cy="4709119"/>
          </a:xfrm>
        </p:spPr>
        <p:txBody>
          <a:bodyPr>
            <a:noAutofit/>
          </a:bodyPr>
          <a:lstStyle/>
          <a:p>
            <a:pPr marL="285750" lvl="0" indent="-285750" fontAlgn="base">
              <a:buFont typeface="Wingdings" panose="05000000000000000000" pitchFamily="2" charset="2"/>
              <a:buChar char="q"/>
            </a:pPr>
            <a:r>
              <a:rPr lang="en-US" sz="2400" dirty="0"/>
              <a:t>There is clear governance and accountability of decision making in Finance (across DOE)</a:t>
            </a:r>
          </a:p>
          <a:p>
            <a:pPr marL="285750" lvl="0" indent="-285750" fontAlgn="base">
              <a:buFont typeface="Wingdings" panose="05000000000000000000" pitchFamily="2" charset="2"/>
              <a:buChar char="q"/>
            </a:pPr>
            <a:r>
              <a:rPr lang="en-AU" sz="2400" dirty="0"/>
              <a:t>Finance is a strategic business partner, agile and responsive to the Schools and DOE’s needs;</a:t>
            </a:r>
          </a:p>
          <a:p>
            <a:pPr marL="285750" lvl="0" indent="-285750" fontAlgn="base">
              <a:buFont typeface="Wingdings" panose="05000000000000000000" pitchFamily="2" charset="2"/>
              <a:buChar char="q"/>
            </a:pPr>
            <a:r>
              <a:rPr lang="en-AU" sz="2400" dirty="0"/>
              <a:t>Processes are streamlined and easy to use;</a:t>
            </a:r>
          </a:p>
          <a:p>
            <a:pPr marL="285750" lvl="0" indent="-285750" fontAlgn="base">
              <a:buFont typeface="Wingdings" panose="05000000000000000000" pitchFamily="2" charset="2"/>
              <a:buChar char="q"/>
            </a:pPr>
            <a:r>
              <a:rPr lang="en-AU" sz="2400" dirty="0"/>
              <a:t>Finance support DOE across the provision of all of its financial reporting needs, providing relevant understandable information;</a:t>
            </a:r>
          </a:p>
          <a:p>
            <a:pPr marL="285750" lvl="0" indent="-285750" fontAlgn="base">
              <a:buFont typeface="Wingdings" panose="05000000000000000000" pitchFamily="2" charset="2"/>
              <a:buChar char="q"/>
            </a:pPr>
            <a:r>
              <a:rPr lang="en-AU" sz="2400" dirty="0"/>
              <a:t>The Finance team comprises a team of skilled professionals;</a:t>
            </a:r>
          </a:p>
          <a:p>
            <a:pPr marL="285750" lvl="0" indent="-285750" fontAlgn="base">
              <a:buFont typeface="Wingdings" panose="05000000000000000000" pitchFamily="2" charset="2"/>
              <a:buChar char="q"/>
            </a:pPr>
            <a:r>
              <a:rPr lang="en-AU" sz="2400" dirty="0"/>
              <a:t>Finance supports diligence and rigour with internal controls;</a:t>
            </a:r>
          </a:p>
        </p:txBody>
      </p:sp>
      <p:sp>
        <p:nvSpPr>
          <p:cNvPr id="11" name="Title 9"/>
          <p:cNvSpPr txBox="1">
            <a:spLocks/>
          </p:cNvSpPr>
          <p:nvPr/>
        </p:nvSpPr>
        <p:spPr>
          <a:xfrm>
            <a:off x="527381" y="6651491"/>
            <a:ext cx="4536059" cy="206509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 defTabSz="1219194" rtl="0" eaLnBrk="1" latinLnBrk="0" hangingPunct="1">
              <a:spcBef>
                <a:spcPct val="0"/>
              </a:spcBef>
              <a:buNone/>
              <a:defRPr sz="3733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sz="1000" dirty="0">
                <a:solidFill>
                  <a:srgbClr val="FF0000"/>
                </a:solidFill>
              </a:rPr>
              <a:t>Confidential, not for distribution, subject to consultation</a:t>
            </a:r>
          </a:p>
        </p:txBody>
      </p:sp>
    </p:spTree>
    <p:extLst>
      <p:ext uri="{BB962C8B-B14F-4D97-AF65-F5344CB8AC3E}">
        <p14:creationId xmlns:p14="http://schemas.microsoft.com/office/powerpoint/2010/main" val="512683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86ACA-A327-4AEF-9081-F20F315BEF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KEY DRIVERS / Finance Purpose &amp; Vision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E1AA61-90DC-4B98-B555-080DDB6854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CE74F-C2F5-4075-B958-FFE3174EE3A5}" type="datetime4">
              <a:rPr lang="en-AU" smtClean="0"/>
              <a:t>28 November 2018</a:t>
            </a:fld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F3B921-9171-40E5-A180-00A1DBBE3C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NSW Department of Education | Document title</a:t>
            </a:r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052D9E-BD5C-4336-81CC-DC594851C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AU"/>
              <a:t>Page </a:t>
            </a:r>
            <a:fld id="{4A2A1DA9-8CAF-4BCA-B496-545B076AED2D}" type="slidenum">
              <a:rPr lang="en-AU" smtClean="0"/>
              <a:pPr/>
              <a:t>9</a:t>
            </a:fld>
            <a:endParaRPr lang="en-AU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215538F-2978-4F0C-9F58-27759FFFA2C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27381" y="849171"/>
            <a:ext cx="11041227" cy="384043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959CBBF3-9D1D-4995-B65D-6E93790E55AD}"/>
              </a:ext>
            </a:extLst>
          </p:cNvPr>
          <p:cNvGraphicFramePr/>
          <p:nvPr>
            <p:extLst/>
          </p:nvPr>
        </p:nvGraphicFramePr>
        <p:xfrm>
          <a:off x="5776450" y="1747604"/>
          <a:ext cx="5216015" cy="41883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E3590827-25FF-4217-A998-D2AEF25594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56888" y="2054370"/>
            <a:ext cx="399771" cy="386776"/>
            <a:chOff x="2214" y="1789"/>
            <a:chExt cx="523" cy="506"/>
          </a:xfrm>
          <a:solidFill>
            <a:schemeClr val="accent1"/>
          </a:solidFill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99BEA5CC-B659-471A-B34C-4F603EECD4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0" y="1789"/>
              <a:ext cx="242" cy="226"/>
            </a:xfrm>
            <a:custGeom>
              <a:avLst/>
              <a:gdLst/>
              <a:ahLst/>
              <a:cxnLst>
                <a:cxn ang="0">
                  <a:pos x="180" y="233"/>
                </a:cxn>
                <a:cxn ang="0">
                  <a:pos x="144" y="233"/>
                </a:cxn>
                <a:cxn ang="0">
                  <a:pos x="69" y="233"/>
                </a:cxn>
                <a:cxn ang="0">
                  <a:pos x="1" y="164"/>
                </a:cxn>
                <a:cxn ang="0">
                  <a:pos x="1" y="68"/>
                </a:cxn>
                <a:cxn ang="0">
                  <a:pos x="69" y="0"/>
                </a:cxn>
                <a:cxn ang="0">
                  <a:pos x="246" y="0"/>
                </a:cxn>
                <a:cxn ang="0">
                  <a:pos x="314" y="68"/>
                </a:cxn>
                <a:cxn ang="0">
                  <a:pos x="314" y="164"/>
                </a:cxn>
                <a:cxn ang="0">
                  <a:pos x="293" y="212"/>
                </a:cxn>
                <a:cxn ang="0">
                  <a:pos x="194" y="284"/>
                </a:cxn>
                <a:cxn ang="0">
                  <a:pos x="171" y="293"/>
                </a:cxn>
                <a:cxn ang="0">
                  <a:pos x="160" y="282"/>
                </a:cxn>
                <a:cxn ang="0">
                  <a:pos x="175" y="244"/>
                </a:cxn>
                <a:cxn ang="0">
                  <a:pos x="180" y="233"/>
                </a:cxn>
              </a:cxnLst>
              <a:rect l="0" t="0" r="r" b="b"/>
              <a:pathLst>
                <a:path w="315" h="295">
                  <a:moveTo>
                    <a:pt x="180" y="233"/>
                  </a:moveTo>
                  <a:cubicBezTo>
                    <a:pt x="167" y="233"/>
                    <a:pt x="156" y="233"/>
                    <a:pt x="144" y="233"/>
                  </a:cubicBezTo>
                  <a:cubicBezTo>
                    <a:pt x="119" y="233"/>
                    <a:pt x="94" y="233"/>
                    <a:pt x="69" y="233"/>
                  </a:cubicBezTo>
                  <a:cubicBezTo>
                    <a:pt x="32" y="232"/>
                    <a:pt x="1" y="201"/>
                    <a:pt x="1" y="164"/>
                  </a:cubicBezTo>
                  <a:cubicBezTo>
                    <a:pt x="0" y="132"/>
                    <a:pt x="0" y="100"/>
                    <a:pt x="1" y="68"/>
                  </a:cubicBezTo>
                  <a:cubicBezTo>
                    <a:pt x="1" y="31"/>
                    <a:pt x="32" y="0"/>
                    <a:pt x="69" y="0"/>
                  </a:cubicBezTo>
                  <a:cubicBezTo>
                    <a:pt x="128" y="0"/>
                    <a:pt x="187" y="0"/>
                    <a:pt x="246" y="0"/>
                  </a:cubicBezTo>
                  <a:cubicBezTo>
                    <a:pt x="282" y="0"/>
                    <a:pt x="314" y="31"/>
                    <a:pt x="314" y="68"/>
                  </a:cubicBezTo>
                  <a:cubicBezTo>
                    <a:pt x="315" y="100"/>
                    <a:pt x="315" y="132"/>
                    <a:pt x="314" y="164"/>
                  </a:cubicBezTo>
                  <a:cubicBezTo>
                    <a:pt x="314" y="183"/>
                    <a:pt x="307" y="199"/>
                    <a:pt x="293" y="212"/>
                  </a:cubicBezTo>
                  <a:cubicBezTo>
                    <a:pt x="263" y="239"/>
                    <a:pt x="231" y="265"/>
                    <a:pt x="194" y="284"/>
                  </a:cubicBezTo>
                  <a:cubicBezTo>
                    <a:pt x="187" y="288"/>
                    <a:pt x="179" y="291"/>
                    <a:pt x="171" y="293"/>
                  </a:cubicBezTo>
                  <a:cubicBezTo>
                    <a:pt x="160" y="295"/>
                    <a:pt x="157" y="292"/>
                    <a:pt x="160" y="282"/>
                  </a:cubicBezTo>
                  <a:cubicBezTo>
                    <a:pt x="164" y="269"/>
                    <a:pt x="170" y="257"/>
                    <a:pt x="175" y="244"/>
                  </a:cubicBezTo>
                  <a:cubicBezTo>
                    <a:pt x="176" y="240"/>
                    <a:pt x="178" y="237"/>
                    <a:pt x="180" y="2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ABD6626B-C9F2-4672-A0EC-06060F2715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4" y="2188"/>
              <a:ext cx="237" cy="107"/>
            </a:xfrm>
            <a:custGeom>
              <a:avLst/>
              <a:gdLst/>
              <a:ahLst/>
              <a:cxnLst>
                <a:cxn ang="0">
                  <a:pos x="309" y="140"/>
                </a:cxn>
                <a:cxn ang="0">
                  <a:pos x="1" y="140"/>
                </a:cxn>
                <a:cxn ang="0">
                  <a:pos x="0" y="139"/>
                </a:cxn>
                <a:cxn ang="0">
                  <a:pos x="9" y="57"/>
                </a:cxn>
                <a:cxn ang="0">
                  <a:pos x="54" y="5"/>
                </a:cxn>
                <a:cxn ang="0">
                  <a:pos x="77" y="1"/>
                </a:cxn>
                <a:cxn ang="0">
                  <a:pos x="231" y="1"/>
                </a:cxn>
                <a:cxn ang="0">
                  <a:pos x="296" y="45"/>
                </a:cxn>
                <a:cxn ang="0">
                  <a:pos x="309" y="140"/>
                </a:cxn>
              </a:cxnLst>
              <a:rect l="0" t="0" r="r" b="b"/>
              <a:pathLst>
                <a:path w="309" h="140">
                  <a:moveTo>
                    <a:pt x="309" y="140"/>
                  </a:moveTo>
                  <a:cubicBezTo>
                    <a:pt x="206" y="140"/>
                    <a:pt x="103" y="140"/>
                    <a:pt x="1" y="140"/>
                  </a:cubicBezTo>
                  <a:cubicBezTo>
                    <a:pt x="1" y="140"/>
                    <a:pt x="0" y="139"/>
                    <a:pt x="0" y="139"/>
                  </a:cubicBezTo>
                  <a:cubicBezTo>
                    <a:pt x="3" y="111"/>
                    <a:pt x="3" y="84"/>
                    <a:pt x="9" y="57"/>
                  </a:cubicBezTo>
                  <a:cubicBezTo>
                    <a:pt x="13" y="32"/>
                    <a:pt x="29" y="13"/>
                    <a:pt x="54" y="5"/>
                  </a:cubicBezTo>
                  <a:cubicBezTo>
                    <a:pt x="61" y="2"/>
                    <a:pt x="69" y="1"/>
                    <a:pt x="77" y="1"/>
                  </a:cubicBezTo>
                  <a:cubicBezTo>
                    <a:pt x="128" y="1"/>
                    <a:pt x="180" y="0"/>
                    <a:pt x="231" y="1"/>
                  </a:cubicBezTo>
                  <a:cubicBezTo>
                    <a:pt x="262" y="1"/>
                    <a:pt x="284" y="16"/>
                    <a:pt x="296" y="45"/>
                  </a:cubicBezTo>
                  <a:cubicBezTo>
                    <a:pt x="308" y="75"/>
                    <a:pt x="307" y="108"/>
                    <a:pt x="309" y="14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5AAFF182-BADA-45EC-96A3-6577A2596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0" y="2187"/>
              <a:ext cx="237" cy="108"/>
            </a:xfrm>
            <a:custGeom>
              <a:avLst/>
              <a:gdLst/>
              <a:ahLst/>
              <a:cxnLst>
                <a:cxn ang="0">
                  <a:pos x="137" y="116"/>
                </a:cxn>
                <a:cxn ang="0">
                  <a:pos x="141" y="64"/>
                </a:cxn>
                <a:cxn ang="0">
                  <a:pos x="167" y="64"/>
                </a:cxn>
                <a:cxn ang="0">
                  <a:pos x="171" y="108"/>
                </a:cxn>
                <a:cxn ang="0">
                  <a:pos x="174" y="116"/>
                </a:cxn>
                <a:cxn ang="0">
                  <a:pos x="180" y="108"/>
                </a:cxn>
                <a:cxn ang="0">
                  <a:pos x="204" y="11"/>
                </a:cxn>
                <a:cxn ang="0">
                  <a:pos x="216" y="1"/>
                </a:cxn>
                <a:cxn ang="0">
                  <a:pos x="250" y="5"/>
                </a:cxn>
                <a:cxn ang="0">
                  <a:pos x="302" y="65"/>
                </a:cxn>
                <a:cxn ang="0">
                  <a:pos x="309" y="137"/>
                </a:cxn>
                <a:cxn ang="0">
                  <a:pos x="308" y="141"/>
                </a:cxn>
                <a:cxn ang="0">
                  <a:pos x="0" y="141"/>
                </a:cxn>
                <a:cxn ang="0">
                  <a:pos x="2" y="101"/>
                </a:cxn>
                <a:cxn ang="0">
                  <a:pos x="11" y="51"/>
                </a:cxn>
                <a:cxn ang="0">
                  <a:pos x="82" y="1"/>
                </a:cxn>
                <a:cxn ang="0">
                  <a:pos x="107" y="21"/>
                </a:cxn>
                <a:cxn ang="0">
                  <a:pos x="129" y="109"/>
                </a:cxn>
                <a:cxn ang="0">
                  <a:pos x="134" y="117"/>
                </a:cxn>
                <a:cxn ang="0">
                  <a:pos x="137" y="116"/>
                </a:cxn>
              </a:cxnLst>
              <a:rect l="0" t="0" r="r" b="b"/>
              <a:pathLst>
                <a:path w="309" h="141">
                  <a:moveTo>
                    <a:pt x="137" y="116"/>
                  </a:moveTo>
                  <a:cubicBezTo>
                    <a:pt x="139" y="99"/>
                    <a:pt x="140" y="82"/>
                    <a:pt x="141" y="64"/>
                  </a:cubicBezTo>
                  <a:cubicBezTo>
                    <a:pt x="150" y="64"/>
                    <a:pt x="158" y="64"/>
                    <a:pt x="167" y="64"/>
                  </a:cubicBezTo>
                  <a:cubicBezTo>
                    <a:pt x="168" y="79"/>
                    <a:pt x="169" y="93"/>
                    <a:pt x="171" y="108"/>
                  </a:cubicBezTo>
                  <a:cubicBezTo>
                    <a:pt x="171" y="111"/>
                    <a:pt x="173" y="113"/>
                    <a:pt x="174" y="116"/>
                  </a:cubicBezTo>
                  <a:cubicBezTo>
                    <a:pt x="176" y="114"/>
                    <a:pt x="179" y="111"/>
                    <a:pt x="180" y="108"/>
                  </a:cubicBezTo>
                  <a:cubicBezTo>
                    <a:pt x="188" y="76"/>
                    <a:pt x="196" y="43"/>
                    <a:pt x="204" y="11"/>
                  </a:cubicBezTo>
                  <a:cubicBezTo>
                    <a:pt x="206" y="4"/>
                    <a:pt x="208" y="0"/>
                    <a:pt x="216" y="1"/>
                  </a:cubicBezTo>
                  <a:cubicBezTo>
                    <a:pt x="227" y="3"/>
                    <a:pt x="239" y="2"/>
                    <a:pt x="250" y="5"/>
                  </a:cubicBezTo>
                  <a:cubicBezTo>
                    <a:pt x="281" y="13"/>
                    <a:pt x="297" y="36"/>
                    <a:pt x="302" y="65"/>
                  </a:cubicBezTo>
                  <a:cubicBezTo>
                    <a:pt x="306" y="89"/>
                    <a:pt x="307" y="113"/>
                    <a:pt x="309" y="137"/>
                  </a:cubicBezTo>
                  <a:cubicBezTo>
                    <a:pt x="309" y="139"/>
                    <a:pt x="308" y="140"/>
                    <a:pt x="308" y="141"/>
                  </a:cubicBezTo>
                  <a:cubicBezTo>
                    <a:pt x="205" y="141"/>
                    <a:pt x="103" y="141"/>
                    <a:pt x="0" y="141"/>
                  </a:cubicBezTo>
                  <a:cubicBezTo>
                    <a:pt x="0" y="128"/>
                    <a:pt x="0" y="114"/>
                    <a:pt x="2" y="101"/>
                  </a:cubicBezTo>
                  <a:cubicBezTo>
                    <a:pt x="4" y="84"/>
                    <a:pt x="6" y="67"/>
                    <a:pt x="11" y="51"/>
                  </a:cubicBezTo>
                  <a:cubicBezTo>
                    <a:pt x="22" y="18"/>
                    <a:pt x="48" y="1"/>
                    <a:pt x="82" y="1"/>
                  </a:cubicBezTo>
                  <a:cubicBezTo>
                    <a:pt x="102" y="1"/>
                    <a:pt x="102" y="1"/>
                    <a:pt x="107" y="21"/>
                  </a:cubicBezTo>
                  <a:cubicBezTo>
                    <a:pt x="114" y="51"/>
                    <a:pt x="122" y="80"/>
                    <a:pt x="129" y="109"/>
                  </a:cubicBezTo>
                  <a:cubicBezTo>
                    <a:pt x="130" y="112"/>
                    <a:pt x="133" y="115"/>
                    <a:pt x="134" y="117"/>
                  </a:cubicBezTo>
                  <a:cubicBezTo>
                    <a:pt x="135" y="117"/>
                    <a:pt x="136" y="116"/>
                    <a:pt x="137" y="1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/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5048800D-D8C1-4B91-919E-40A89A47A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0" y="2007"/>
              <a:ext cx="136" cy="168"/>
            </a:xfrm>
            <a:custGeom>
              <a:avLst/>
              <a:gdLst/>
              <a:ahLst/>
              <a:cxnLst>
                <a:cxn ang="0">
                  <a:pos x="170" y="83"/>
                </a:cxn>
                <a:cxn ang="0">
                  <a:pos x="174" y="102"/>
                </a:cxn>
                <a:cxn ang="0">
                  <a:pos x="168" y="150"/>
                </a:cxn>
                <a:cxn ang="0">
                  <a:pos x="161" y="168"/>
                </a:cxn>
                <a:cxn ang="0">
                  <a:pos x="86" y="219"/>
                </a:cxn>
                <a:cxn ang="0">
                  <a:pos x="15" y="166"/>
                </a:cxn>
                <a:cxn ang="0">
                  <a:pos x="3" y="133"/>
                </a:cxn>
                <a:cxn ang="0">
                  <a:pos x="4" y="96"/>
                </a:cxn>
                <a:cxn ang="0">
                  <a:pos x="5" y="79"/>
                </a:cxn>
                <a:cxn ang="0">
                  <a:pos x="93" y="2"/>
                </a:cxn>
                <a:cxn ang="0">
                  <a:pos x="170" y="83"/>
                </a:cxn>
              </a:cxnLst>
              <a:rect l="0" t="0" r="r" b="b"/>
              <a:pathLst>
                <a:path w="177" h="220">
                  <a:moveTo>
                    <a:pt x="170" y="83"/>
                  </a:moveTo>
                  <a:cubicBezTo>
                    <a:pt x="172" y="90"/>
                    <a:pt x="173" y="96"/>
                    <a:pt x="174" y="102"/>
                  </a:cubicBezTo>
                  <a:cubicBezTo>
                    <a:pt x="177" y="119"/>
                    <a:pt x="175" y="134"/>
                    <a:pt x="168" y="150"/>
                  </a:cubicBezTo>
                  <a:cubicBezTo>
                    <a:pt x="166" y="156"/>
                    <a:pt x="163" y="162"/>
                    <a:pt x="161" y="168"/>
                  </a:cubicBezTo>
                  <a:cubicBezTo>
                    <a:pt x="151" y="201"/>
                    <a:pt x="124" y="220"/>
                    <a:pt x="86" y="219"/>
                  </a:cubicBezTo>
                  <a:cubicBezTo>
                    <a:pt x="51" y="219"/>
                    <a:pt x="24" y="199"/>
                    <a:pt x="15" y="166"/>
                  </a:cubicBezTo>
                  <a:cubicBezTo>
                    <a:pt x="11" y="155"/>
                    <a:pt x="6" y="144"/>
                    <a:pt x="3" y="133"/>
                  </a:cubicBezTo>
                  <a:cubicBezTo>
                    <a:pt x="0" y="121"/>
                    <a:pt x="0" y="108"/>
                    <a:pt x="4" y="96"/>
                  </a:cubicBezTo>
                  <a:cubicBezTo>
                    <a:pt x="6" y="91"/>
                    <a:pt x="5" y="84"/>
                    <a:pt x="5" y="79"/>
                  </a:cubicBezTo>
                  <a:cubicBezTo>
                    <a:pt x="6" y="32"/>
                    <a:pt x="42" y="0"/>
                    <a:pt x="93" y="2"/>
                  </a:cubicBezTo>
                  <a:cubicBezTo>
                    <a:pt x="139" y="3"/>
                    <a:pt x="173" y="38"/>
                    <a:pt x="170" y="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/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550FDEB8-7686-4D44-868A-7033058B53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1998"/>
              <a:ext cx="136" cy="174"/>
            </a:xfrm>
            <a:custGeom>
              <a:avLst/>
              <a:gdLst/>
              <a:ahLst/>
              <a:cxnLst>
                <a:cxn ang="0">
                  <a:pos x="80" y="228"/>
                </a:cxn>
                <a:cxn ang="0">
                  <a:pos x="20" y="189"/>
                </a:cxn>
                <a:cxn ang="0">
                  <a:pos x="0" y="128"/>
                </a:cxn>
                <a:cxn ang="0">
                  <a:pos x="3" y="107"/>
                </a:cxn>
                <a:cxn ang="0">
                  <a:pos x="4" y="98"/>
                </a:cxn>
                <a:cxn ang="0">
                  <a:pos x="106" y="12"/>
                </a:cxn>
                <a:cxn ang="0">
                  <a:pos x="171" y="95"/>
                </a:cxn>
                <a:cxn ang="0">
                  <a:pos x="172" y="106"/>
                </a:cxn>
                <a:cxn ang="0">
                  <a:pos x="167" y="160"/>
                </a:cxn>
                <a:cxn ang="0">
                  <a:pos x="161" y="173"/>
                </a:cxn>
                <a:cxn ang="0">
                  <a:pos x="80" y="228"/>
                </a:cxn>
              </a:cxnLst>
              <a:rect l="0" t="0" r="r" b="b"/>
              <a:pathLst>
                <a:path w="177" h="228">
                  <a:moveTo>
                    <a:pt x="80" y="228"/>
                  </a:moveTo>
                  <a:cubicBezTo>
                    <a:pt x="58" y="228"/>
                    <a:pt x="32" y="217"/>
                    <a:pt x="20" y="189"/>
                  </a:cubicBezTo>
                  <a:cubicBezTo>
                    <a:pt x="11" y="170"/>
                    <a:pt x="0" y="150"/>
                    <a:pt x="0" y="128"/>
                  </a:cubicBezTo>
                  <a:cubicBezTo>
                    <a:pt x="0" y="121"/>
                    <a:pt x="2" y="114"/>
                    <a:pt x="3" y="107"/>
                  </a:cubicBezTo>
                  <a:cubicBezTo>
                    <a:pt x="3" y="104"/>
                    <a:pt x="4" y="101"/>
                    <a:pt x="4" y="98"/>
                  </a:cubicBezTo>
                  <a:cubicBezTo>
                    <a:pt x="1" y="40"/>
                    <a:pt x="48" y="0"/>
                    <a:pt x="106" y="12"/>
                  </a:cubicBezTo>
                  <a:cubicBezTo>
                    <a:pt x="147" y="21"/>
                    <a:pt x="172" y="53"/>
                    <a:pt x="171" y="95"/>
                  </a:cubicBezTo>
                  <a:cubicBezTo>
                    <a:pt x="170" y="99"/>
                    <a:pt x="171" y="103"/>
                    <a:pt x="172" y="106"/>
                  </a:cubicBezTo>
                  <a:cubicBezTo>
                    <a:pt x="177" y="125"/>
                    <a:pt x="174" y="142"/>
                    <a:pt x="167" y="160"/>
                  </a:cubicBezTo>
                  <a:cubicBezTo>
                    <a:pt x="165" y="164"/>
                    <a:pt x="163" y="168"/>
                    <a:pt x="161" y="173"/>
                  </a:cubicBezTo>
                  <a:cubicBezTo>
                    <a:pt x="152" y="208"/>
                    <a:pt x="125" y="228"/>
                    <a:pt x="80" y="2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/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797E9D58-41CF-4AE7-84CD-2F4AD8551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1" y="1829"/>
              <a:ext cx="181" cy="212"/>
            </a:xfrm>
            <a:custGeom>
              <a:avLst/>
              <a:gdLst/>
              <a:ahLst/>
              <a:cxnLst>
                <a:cxn ang="0">
                  <a:pos x="95" y="23"/>
                </a:cxn>
                <a:cxn ang="0">
                  <a:pos x="93" y="1"/>
                </a:cxn>
                <a:cxn ang="0">
                  <a:pos x="102" y="0"/>
                </a:cxn>
                <a:cxn ang="0">
                  <a:pos x="161" y="0"/>
                </a:cxn>
                <a:cxn ang="0">
                  <a:pos x="234" y="74"/>
                </a:cxn>
                <a:cxn ang="0">
                  <a:pos x="234" y="153"/>
                </a:cxn>
                <a:cxn ang="0">
                  <a:pos x="169" y="223"/>
                </a:cxn>
                <a:cxn ang="0">
                  <a:pos x="99" y="224"/>
                </a:cxn>
                <a:cxn ang="0">
                  <a:pos x="87" y="224"/>
                </a:cxn>
                <a:cxn ang="0">
                  <a:pos x="94" y="244"/>
                </a:cxn>
                <a:cxn ang="0">
                  <a:pos x="97" y="261"/>
                </a:cxn>
                <a:cxn ang="0">
                  <a:pos x="81" y="276"/>
                </a:cxn>
                <a:cxn ang="0">
                  <a:pos x="65" y="273"/>
                </a:cxn>
                <a:cxn ang="0">
                  <a:pos x="0" y="233"/>
                </a:cxn>
                <a:cxn ang="0">
                  <a:pos x="18" y="219"/>
                </a:cxn>
                <a:cxn ang="0">
                  <a:pos x="69" y="251"/>
                </a:cxn>
                <a:cxn ang="0">
                  <a:pos x="71" y="248"/>
                </a:cxn>
                <a:cxn ang="0">
                  <a:pos x="49" y="201"/>
                </a:cxn>
                <a:cxn ang="0">
                  <a:pos x="60" y="200"/>
                </a:cxn>
                <a:cxn ang="0">
                  <a:pos x="157" y="200"/>
                </a:cxn>
                <a:cxn ang="0">
                  <a:pos x="212" y="146"/>
                </a:cxn>
                <a:cxn ang="0">
                  <a:pos x="212" y="75"/>
                </a:cxn>
                <a:cxn ang="0">
                  <a:pos x="155" y="22"/>
                </a:cxn>
                <a:cxn ang="0">
                  <a:pos x="95" y="23"/>
                </a:cxn>
              </a:cxnLst>
              <a:rect l="0" t="0" r="r" b="b"/>
              <a:pathLst>
                <a:path w="235" h="277">
                  <a:moveTo>
                    <a:pt x="95" y="23"/>
                  </a:moveTo>
                  <a:cubicBezTo>
                    <a:pt x="95" y="15"/>
                    <a:pt x="94" y="8"/>
                    <a:pt x="93" y="1"/>
                  </a:cubicBezTo>
                  <a:cubicBezTo>
                    <a:pt x="97" y="1"/>
                    <a:pt x="99" y="0"/>
                    <a:pt x="102" y="0"/>
                  </a:cubicBezTo>
                  <a:cubicBezTo>
                    <a:pt x="122" y="0"/>
                    <a:pt x="142" y="0"/>
                    <a:pt x="161" y="0"/>
                  </a:cubicBezTo>
                  <a:cubicBezTo>
                    <a:pt x="204" y="1"/>
                    <a:pt x="234" y="32"/>
                    <a:pt x="234" y="74"/>
                  </a:cubicBezTo>
                  <a:cubicBezTo>
                    <a:pt x="234" y="101"/>
                    <a:pt x="235" y="127"/>
                    <a:pt x="234" y="153"/>
                  </a:cubicBezTo>
                  <a:cubicBezTo>
                    <a:pt x="234" y="189"/>
                    <a:pt x="205" y="221"/>
                    <a:pt x="169" y="223"/>
                  </a:cubicBezTo>
                  <a:cubicBezTo>
                    <a:pt x="146" y="224"/>
                    <a:pt x="122" y="223"/>
                    <a:pt x="99" y="224"/>
                  </a:cubicBezTo>
                  <a:cubicBezTo>
                    <a:pt x="95" y="224"/>
                    <a:pt x="92" y="224"/>
                    <a:pt x="87" y="224"/>
                  </a:cubicBezTo>
                  <a:cubicBezTo>
                    <a:pt x="90" y="231"/>
                    <a:pt x="92" y="237"/>
                    <a:pt x="94" y="244"/>
                  </a:cubicBezTo>
                  <a:cubicBezTo>
                    <a:pt x="96" y="249"/>
                    <a:pt x="97" y="255"/>
                    <a:pt x="97" y="261"/>
                  </a:cubicBezTo>
                  <a:cubicBezTo>
                    <a:pt x="97" y="271"/>
                    <a:pt x="91" y="277"/>
                    <a:pt x="81" y="276"/>
                  </a:cubicBezTo>
                  <a:cubicBezTo>
                    <a:pt x="76" y="276"/>
                    <a:pt x="70" y="275"/>
                    <a:pt x="65" y="273"/>
                  </a:cubicBezTo>
                  <a:cubicBezTo>
                    <a:pt x="41" y="264"/>
                    <a:pt x="21" y="249"/>
                    <a:pt x="0" y="233"/>
                  </a:cubicBezTo>
                  <a:cubicBezTo>
                    <a:pt x="7" y="228"/>
                    <a:pt x="13" y="223"/>
                    <a:pt x="18" y="219"/>
                  </a:cubicBezTo>
                  <a:cubicBezTo>
                    <a:pt x="36" y="230"/>
                    <a:pt x="52" y="240"/>
                    <a:pt x="69" y="251"/>
                  </a:cubicBezTo>
                  <a:cubicBezTo>
                    <a:pt x="70" y="250"/>
                    <a:pt x="70" y="249"/>
                    <a:pt x="71" y="248"/>
                  </a:cubicBezTo>
                  <a:cubicBezTo>
                    <a:pt x="64" y="233"/>
                    <a:pt x="57" y="218"/>
                    <a:pt x="49" y="201"/>
                  </a:cubicBezTo>
                  <a:cubicBezTo>
                    <a:pt x="54" y="201"/>
                    <a:pt x="57" y="200"/>
                    <a:pt x="60" y="200"/>
                  </a:cubicBezTo>
                  <a:cubicBezTo>
                    <a:pt x="93" y="200"/>
                    <a:pt x="125" y="200"/>
                    <a:pt x="157" y="200"/>
                  </a:cubicBezTo>
                  <a:cubicBezTo>
                    <a:pt x="192" y="200"/>
                    <a:pt x="211" y="180"/>
                    <a:pt x="212" y="146"/>
                  </a:cubicBezTo>
                  <a:cubicBezTo>
                    <a:pt x="212" y="123"/>
                    <a:pt x="211" y="99"/>
                    <a:pt x="212" y="75"/>
                  </a:cubicBezTo>
                  <a:cubicBezTo>
                    <a:pt x="213" y="46"/>
                    <a:pt x="187" y="19"/>
                    <a:pt x="155" y="22"/>
                  </a:cubicBezTo>
                  <a:cubicBezTo>
                    <a:pt x="136" y="24"/>
                    <a:pt x="116" y="23"/>
                    <a:pt x="95" y="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/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45EC7B4A-7E3D-4FED-BE24-E49314105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2188"/>
              <a:ext cx="47" cy="30"/>
            </a:xfrm>
            <a:custGeom>
              <a:avLst/>
              <a:gdLst/>
              <a:ahLst/>
              <a:cxnLst>
                <a:cxn ang="0">
                  <a:pos x="61" y="31"/>
                </a:cxn>
                <a:cxn ang="0">
                  <a:pos x="52" y="38"/>
                </a:cxn>
                <a:cxn ang="0">
                  <a:pos x="9" y="38"/>
                </a:cxn>
                <a:cxn ang="0">
                  <a:pos x="0" y="29"/>
                </a:cxn>
                <a:cxn ang="0">
                  <a:pos x="30" y="0"/>
                </a:cxn>
                <a:cxn ang="0">
                  <a:pos x="61" y="31"/>
                </a:cxn>
              </a:cxnLst>
              <a:rect l="0" t="0" r="r" b="b"/>
              <a:pathLst>
                <a:path w="61" h="38">
                  <a:moveTo>
                    <a:pt x="61" y="31"/>
                  </a:moveTo>
                  <a:cubicBezTo>
                    <a:pt x="58" y="33"/>
                    <a:pt x="55" y="37"/>
                    <a:pt x="52" y="38"/>
                  </a:cubicBezTo>
                  <a:cubicBezTo>
                    <a:pt x="38" y="38"/>
                    <a:pt x="24" y="38"/>
                    <a:pt x="9" y="38"/>
                  </a:cubicBezTo>
                  <a:cubicBezTo>
                    <a:pt x="7" y="37"/>
                    <a:pt x="5" y="33"/>
                    <a:pt x="0" y="29"/>
                  </a:cubicBezTo>
                  <a:cubicBezTo>
                    <a:pt x="10" y="19"/>
                    <a:pt x="20" y="9"/>
                    <a:pt x="30" y="0"/>
                  </a:cubicBezTo>
                  <a:cubicBezTo>
                    <a:pt x="41" y="11"/>
                    <a:pt x="50" y="20"/>
                    <a:pt x="61" y="3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/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820A2E8F-8B3F-48FD-98F6-590731CC4C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4" y="2222"/>
              <a:ext cx="28" cy="8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31" y="0"/>
                </a:cxn>
                <a:cxn ang="0">
                  <a:pos x="36" y="4"/>
                </a:cxn>
                <a:cxn ang="0">
                  <a:pos x="31" y="9"/>
                </a:cxn>
                <a:cxn ang="0">
                  <a:pos x="5" y="9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19" y="0"/>
                </a:cxn>
                <a:cxn ang="0">
                  <a:pos x="19" y="0"/>
                </a:cxn>
              </a:cxnLst>
              <a:rect l="0" t="0" r="r" b="b"/>
              <a:pathLst>
                <a:path w="36" h="10">
                  <a:moveTo>
                    <a:pt x="19" y="0"/>
                  </a:moveTo>
                  <a:cubicBezTo>
                    <a:pt x="23" y="0"/>
                    <a:pt x="27" y="0"/>
                    <a:pt x="31" y="0"/>
                  </a:cubicBezTo>
                  <a:cubicBezTo>
                    <a:pt x="33" y="1"/>
                    <a:pt x="34" y="3"/>
                    <a:pt x="36" y="4"/>
                  </a:cubicBezTo>
                  <a:cubicBezTo>
                    <a:pt x="34" y="6"/>
                    <a:pt x="33" y="9"/>
                    <a:pt x="31" y="9"/>
                  </a:cubicBezTo>
                  <a:cubicBezTo>
                    <a:pt x="22" y="10"/>
                    <a:pt x="14" y="10"/>
                    <a:pt x="5" y="9"/>
                  </a:cubicBezTo>
                  <a:cubicBezTo>
                    <a:pt x="4" y="9"/>
                    <a:pt x="2" y="6"/>
                    <a:pt x="0" y="5"/>
                  </a:cubicBezTo>
                  <a:cubicBezTo>
                    <a:pt x="2" y="3"/>
                    <a:pt x="4" y="1"/>
                    <a:pt x="5" y="0"/>
                  </a:cubicBezTo>
                  <a:cubicBezTo>
                    <a:pt x="10" y="0"/>
                    <a:pt x="14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2CB0A5F-2340-4DCD-9F6E-B23276E665F7}"/>
              </a:ext>
            </a:extLst>
          </p:cNvPr>
          <p:cNvGrpSpPr/>
          <p:nvPr/>
        </p:nvGrpSpPr>
        <p:grpSpPr>
          <a:xfrm>
            <a:off x="6399275" y="3696967"/>
            <a:ext cx="559100" cy="328702"/>
            <a:chOff x="1899727" y="2871636"/>
            <a:chExt cx="866775" cy="509588"/>
          </a:xfrm>
          <a:solidFill>
            <a:schemeClr val="accent1"/>
          </a:solidFill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F4D5192A-5230-4DDA-8E33-ABA971987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9727" y="2871636"/>
              <a:ext cx="866775" cy="509588"/>
            </a:xfrm>
            <a:custGeom>
              <a:avLst/>
              <a:gdLst/>
              <a:ahLst/>
              <a:cxnLst>
                <a:cxn ang="0">
                  <a:pos x="359" y="0"/>
                </a:cxn>
                <a:cxn ang="0">
                  <a:pos x="457" y="13"/>
                </a:cxn>
                <a:cxn ang="0">
                  <a:pos x="634" y="106"/>
                </a:cxn>
                <a:cxn ang="0">
                  <a:pos x="713" y="193"/>
                </a:cxn>
                <a:cxn ang="0">
                  <a:pos x="713" y="200"/>
                </a:cxn>
                <a:cxn ang="0">
                  <a:pos x="656" y="276"/>
                </a:cxn>
                <a:cxn ang="0">
                  <a:pos x="532" y="374"/>
                </a:cxn>
                <a:cxn ang="0">
                  <a:pos x="429" y="411"/>
                </a:cxn>
                <a:cxn ang="0">
                  <a:pos x="375" y="417"/>
                </a:cxn>
                <a:cxn ang="0">
                  <a:pos x="293" y="411"/>
                </a:cxn>
                <a:cxn ang="0">
                  <a:pos x="209" y="383"/>
                </a:cxn>
                <a:cxn ang="0">
                  <a:pos x="81" y="293"/>
                </a:cxn>
                <a:cxn ang="0">
                  <a:pos x="2" y="201"/>
                </a:cxn>
                <a:cxn ang="0">
                  <a:pos x="3" y="193"/>
                </a:cxn>
                <a:cxn ang="0">
                  <a:pos x="167" y="49"/>
                </a:cxn>
                <a:cxn ang="0">
                  <a:pos x="261" y="13"/>
                </a:cxn>
                <a:cxn ang="0">
                  <a:pos x="333" y="1"/>
                </a:cxn>
                <a:cxn ang="0">
                  <a:pos x="359" y="0"/>
                </a:cxn>
                <a:cxn ang="0">
                  <a:pos x="359" y="357"/>
                </a:cxn>
                <a:cxn ang="0">
                  <a:pos x="373" y="356"/>
                </a:cxn>
                <a:cxn ang="0">
                  <a:pos x="428" y="348"/>
                </a:cxn>
                <a:cxn ang="0">
                  <a:pos x="509" y="316"/>
                </a:cxn>
                <a:cxn ang="0">
                  <a:pos x="591" y="256"/>
                </a:cxn>
                <a:cxn ang="0">
                  <a:pos x="638" y="203"/>
                </a:cxn>
                <a:cxn ang="0">
                  <a:pos x="638" y="195"/>
                </a:cxn>
                <a:cxn ang="0">
                  <a:pos x="627" y="183"/>
                </a:cxn>
                <a:cxn ang="0">
                  <a:pos x="508" y="96"/>
                </a:cxn>
                <a:cxn ang="0">
                  <a:pos x="424" y="68"/>
                </a:cxn>
                <a:cxn ang="0">
                  <a:pos x="343" y="62"/>
                </a:cxn>
                <a:cxn ang="0">
                  <a:pos x="281" y="71"/>
                </a:cxn>
                <a:cxn ang="0">
                  <a:pos x="199" y="102"/>
                </a:cxn>
                <a:cxn ang="0">
                  <a:pos x="79" y="195"/>
                </a:cxn>
                <a:cxn ang="0">
                  <a:pos x="79" y="202"/>
                </a:cxn>
                <a:cxn ang="0">
                  <a:pos x="123" y="249"/>
                </a:cxn>
                <a:cxn ang="0">
                  <a:pos x="238" y="329"/>
                </a:cxn>
                <a:cxn ang="0">
                  <a:pos x="359" y="357"/>
                </a:cxn>
              </a:cxnLst>
              <a:rect l="0" t="0" r="r" b="b"/>
              <a:pathLst>
                <a:path w="715" h="420">
                  <a:moveTo>
                    <a:pt x="359" y="0"/>
                  </a:moveTo>
                  <a:cubicBezTo>
                    <a:pt x="392" y="1"/>
                    <a:pt x="425" y="4"/>
                    <a:pt x="457" y="13"/>
                  </a:cubicBezTo>
                  <a:cubicBezTo>
                    <a:pt x="523" y="30"/>
                    <a:pt x="582" y="61"/>
                    <a:pt x="634" y="106"/>
                  </a:cubicBezTo>
                  <a:cubicBezTo>
                    <a:pt x="664" y="132"/>
                    <a:pt x="690" y="161"/>
                    <a:pt x="713" y="193"/>
                  </a:cubicBezTo>
                  <a:cubicBezTo>
                    <a:pt x="715" y="196"/>
                    <a:pt x="715" y="197"/>
                    <a:pt x="713" y="200"/>
                  </a:cubicBezTo>
                  <a:cubicBezTo>
                    <a:pt x="696" y="227"/>
                    <a:pt x="678" y="253"/>
                    <a:pt x="656" y="276"/>
                  </a:cubicBezTo>
                  <a:cubicBezTo>
                    <a:pt x="621" y="316"/>
                    <a:pt x="580" y="349"/>
                    <a:pt x="532" y="374"/>
                  </a:cubicBezTo>
                  <a:cubicBezTo>
                    <a:pt x="500" y="391"/>
                    <a:pt x="465" y="404"/>
                    <a:pt x="429" y="411"/>
                  </a:cubicBezTo>
                  <a:cubicBezTo>
                    <a:pt x="411" y="414"/>
                    <a:pt x="393" y="416"/>
                    <a:pt x="375" y="417"/>
                  </a:cubicBezTo>
                  <a:cubicBezTo>
                    <a:pt x="347" y="420"/>
                    <a:pt x="320" y="417"/>
                    <a:pt x="293" y="411"/>
                  </a:cubicBezTo>
                  <a:cubicBezTo>
                    <a:pt x="264" y="405"/>
                    <a:pt x="236" y="396"/>
                    <a:pt x="209" y="383"/>
                  </a:cubicBezTo>
                  <a:cubicBezTo>
                    <a:pt x="161" y="360"/>
                    <a:pt x="119" y="330"/>
                    <a:pt x="81" y="293"/>
                  </a:cubicBezTo>
                  <a:cubicBezTo>
                    <a:pt x="52" y="265"/>
                    <a:pt x="26" y="234"/>
                    <a:pt x="2" y="201"/>
                  </a:cubicBezTo>
                  <a:cubicBezTo>
                    <a:pt x="0" y="198"/>
                    <a:pt x="0" y="196"/>
                    <a:pt x="3" y="193"/>
                  </a:cubicBezTo>
                  <a:cubicBezTo>
                    <a:pt x="47" y="133"/>
                    <a:pt x="101" y="84"/>
                    <a:pt x="167" y="49"/>
                  </a:cubicBezTo>
                  <a:cubicBezTo>
                    <a:pt x="197" y="33"/>
                    <a:pt x="228" y="21"/>
                    <a:pt x="261" y="13"/>
                  </a:cubicBezTo>
                  <a:cubicBezTo>
                    <a:pt x="285" y="7"/>
                    <a:pt x="309" y="2"/>
                    <a:pt x="333" y="1"/>
                  </a:cubicBezTo>
                  <a:cubicBezTo>
                    <a:pt x="342" y="1"/>
                    <a:pt x="350" y="0"/>
                    <a:pt x="359" y="0"/>
                  </a:cubicBezTo>
                  <a:close/>
                  <a:moveTo>
                    <a:pt x="359" y="357"/>
                  </a:moveTo>
                  <a:cubicBezTo>
                    <a:pt x="364" y="357"/>
                    <a:pt x="368" y="356"/>
                    <a:pt x="373" y="356"/>
                  </a:cubicBezTo>
                  <a:cubicBezTo>
                    <a:pt x="392" y="356"/>
                    <a:pt x="410" y="353"/>
                    <a:pt x="428" y="348"/>
                  </a:cubicBezTo>
                  <a:cubicBezTo>
                    <a:pt x="457" y="342"/>
                    <a:pt x="484" y="331"/>
                    <a:pt x="509" y="316"/>
                  </a:cubicBezTo>
                  <a:cubicBezTo>
                    <a:pt x="539" y="300"/>
                    <a:pt x="566" y="279"/>
                    <a:pt x="591" y="256"/>
                  </a:cubicBezTo>
                  <a:cubicBezTo>
                    <a:pt x="608" y="239"/>
                    <a:pt x="624" y="222"/>
                    <a:pt x="638" y="203"/>
                  </a:cubicBezTo>
                  <a:cubicBezTo>
                    <a:pt x="640" y="200"/>
                    <a:pt x="641" y="198"/>
                    <a:pt x="638" y="195"/>
                  </a:cubicBezTo>
                  <a:cubicBezTo>
                    <a:pt x="634" y="191"/>
                    <a:pt x="630" y="187"/>
                    <a:pt x="627" y="183"/>
                  </a:cubicBezTo>
                  <a:cubicBezTo>
                    <a:pt x="592" y="147"/>
                    <a:pt x="553" y="118"/>
                    <a:pt x="508" y="96"/>
                  </a:cubicBezTo>
                  <a:cubicBezTo>
                    <a:pt x="481" y="83"/>
                    <a:pt x="453" y="74"/>
                    <a:pt x="424" y="68"/>
                  </a:cubicBezTo>
                  <a:cubicBezTo>
                    <a:pt x="398" y="63"/>
                    <a:pt x="371" y="61"/>
                    <a:pt x="343" y="62"/>
                  </a:cubicBezTo>
                  <a:cubicBezTo>
                    <a:pt x="322" y="63"/>
                    <a:pt x="301" y="66"/>
                    <a:pt x="281" y="71"/>
                  </a:cubicBezTo>
                  <a:cubicBezTo>
                    <a:pt x="252" y="78"/>
                    <a:pt x="225" y="88"/>
                    <a:pt x="199" y="102"/>
                  </a:cubicBezTo>
                  <a:cubicBezTo>
                    <a:pt x="153" y="126"/>
                    <a:pt x="114" y="157"/>
                    <a:pt x="79" y="195"/>
                  </a:cubicBezTo>
                  <a:cubicBezTo>
                    <a:pt x="77" y="198"/>
                    <a:pt x="77" y="199"/>
                    <a:pt x="79" y="202"/>
                  </a:cubicBezTo>
                  <a:cubicBezTo>
                    <a:pt x="94" y="218"/>
                    <a:pt x="108" y="234"/>
                    <a:pt x="123" y="249"/>
                  </a:cubicBezTo>
                  <a:cubicBezTo>
                    <a:pt x="157" y="282"/>
                    <a:pt x="195" y="309"/>
                    <a:pt x="238" y="329"/>
                  </a:cubicBezTo>
                  <a:cubicBezTo>
                    <a:pt x="277" y="347"/>
                    <a:pt x="317" y="357"/>
                    <a:pt x="359" y="3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/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94959156-714E-4F88-B293-098856F254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1827" y="2977999"/>
              <a:ext cx="293688" cy="293688"/>
            </a:xfrm>
            <a:custGeom>
              <a:avLst/>
              <a:gdLst/>
              <a:ahLst/>
              <a:cxnLst>
                <a:cxn ang="0">
                  <a:pos x="241" y="121"/>
                </a:cxn>
                <a:cxn ang="0">
                  <a:pos x="120" y="242"/>
                </a:cxn>
                <a:cxn ang="0">
                  <a:pos x="0" y="121"/>
                </a:cxn>
                <a:cxn ang="0">
                  <a:pos x="122" y="1"/>
                </a:cxn>
                <a:cxn ang="0">
                  <a:pos x="241" y="121"/>
                </a:cxn>
                <a:cxn ang="0">
                  <a:pos x="90" y="47"/>
                </a:cxn>
                <a:cxn ang="0">
                  <a:pos x="46" y="91"/>
                </a:cxn>
                <a:cxn ang="0">
                  <a:pos x="90" y="134"/>
                </a:cxn>
                <a:cxn ang="0">
                  <a:pos x="133" y="90"/>
                </a:cxn>
                <a:cxn ang="0">
                  <a:pos x="90" y="47"/>
                </a:cxn>
              </a:cxnLst>
              <a:rect l="0" t="0" r="r" b="b"/>
              <a:pathLst>
                <a:path w="242" h="242">
                  <a:moveTo>
                    <a:pt x="241" y="121"/>
                  </a:moveTo>
                  <a:cubicBezTo>
                    <a:pt x="242" y="186"/>
                    <a:pt x="188" y="242"/>
                    <a:pt x="120" y="242"/>
                  </a:cubicBezTo>
                  <a:cubicBezTo>
                    <a:pt x="54" y="241"/>
                    <a:pt x="0" y="189"/>
                    <a:pt x="0" y="121"/>
                  </a:cubicBezTo>
                  <a:cubicBezTo>
                    <a:pt x="0" y="53"/>
                    <a:pt x="54" y="0"/>
                    <a:pt x="122" y="1"/>
                  </a:cubicBezTo>
                  <a:cubicBezTo>
                    <a:pt x="188" y="1"/>
                    <a:pt x="242" y="56"/>
                    <a:pt x="241" y="121"/>
                  </a:cubicBezTo>
                  <a:close/>
                  <a:moveTo>
                    <a:pt x="90" y="47"/>
                  </a:moveTo>
                  <a:cubicBezTo>
                    <a:pt x="66" y="47"/>
                    <a:pt x="46" y="67"/>
                    <a:pt x="46" y="91"/>
                  </a:cubicBezTo>
                  <a:cubicBezTo>
                    <a:pt x="47" y="114"/>
                    <a:pt x="65" y="133"/>
                    <a:pt x="90" y="134"/>
                  </a:cubicBezTo>
                  <a:cubicBezTo>
                    <a:pt x="113" y="134"/>
                    <a:pt x="133" y="114"/>
                    <a:pt x="133" y="90"/>
                  </a:cubicBezTo>
                  <a:cubicBezTo>
                    <a:pt x="133" y="67"/>
                    <a:pt x="113" y="47"/>
                    <a:pt x="90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698FFA8-48B4-41AC-B2FE-488DD328EA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342380" y="2831149"/>
            <a:ext cx="425830" cy="431142"/>
            <a:chOff x="309" y="2796"/>
            <a:chExt cx="481" cy="487"/>
          </a:xfrm>
          <a:solidFill>
            <a:schemeClr val="accent1"/>
          </a:solidFill>
        </p:grpSpPr>
        <p:sp>
          <p:nvSpPr>
            <p:cNvPr id="32" name="Freeform 60">
              <a:extLst>
                <a:ext uri="{FF2B5EF4-FFF2-40B4-BE49-F238E27FC236}">
                  <a16:creationId xmlns:a16="http://schemas.microsoft.com/office/drawing/2014/main" id="{271AFF25-A35E-4F79-9110-A700ADD96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" y="2796"/>
              <a:ext cx="368" cy="487"/>
            </a:xfrm>
            <a:custGeom>
              <a:avLst/>
              <a:gdLst/>
              <a:ahLst/>
              <a:cxnLst>
                <a:cxn ang="0">
                  <a:pos x="452" y="356"/>
                </a:cxn>
                <a:cxn ang="0">
                  <a:pos x="449" y="350"/>
                </a:cxn>
                <a:cxn ang="0">
                  <a:pos x="455" y="339"/>
                </a:cxn>
                <a:cxn ang="0">
                  <a:pos x="467" y="323"/>
                </a:cxn>
                <a:cxn ang="0">
                  <a:pos x="469" y="310"/>
                </a:cxn>
                <a:cxn ang="0">
                  <a:pos x="469" y="302"/>
                </a:cxn>
                <a:cxn ang="0">
                  <a:pos x="464" y="283"/>
                </a:cxn>
                <a:cxn ang="0">
                  <a:pos x="458" y="273"/>
                </a:cxn>
                <a:cxn ang="0">
                  <a:pos x="430" y="250"/>
                </a:cxn>
                <a:cxn ang="0">
                  <a:pos x="410" y="246"/>
                </a:cxn>
                <a:cxn ang="0">
                  <a:pos x="384" y="245"/>
                </a:cxn>
                <a:cxn ang="0">
                  <a:pos x="252" y="242"/>
                </a:cxn>
                <a:cxn ang="0">
                  <a:pos x="249" y="223"/>
                </a:cxn>
                <a:cxn ang="0">
                  <a:pos x="267" y="175"/>
                </a:cxn>
                <a:cxn ang="0">
                  <a:pos x="293" y="114"/>
                </a:cxn>
                <a:cxn ang="0">
                  <a:pos x="258" y="2"/>
                </a:cxn>
                <a:cxn ang="0">
                  <a:pos x="203" y="49"/>
                </a:cxn>
                <a:cxn ang="0">
                  <a:pos x="199" y="78"/>
                </a:cxn>
                <a:cxn ang="0">
                  <a:pos x="195" y="95"/>
                </a:cxn>
                <a:cxn ang="0">
                  <a:pos x="191" y="105"/>
                </a:cxn>
                <a:cxn ang="0">
                  <a:pos x="186" y="117"/>
                </a:cxn>
                <a:cxn ang="0">
                  <a:pos x="178" y="129"/>
                </a:cxn>
                <a:cxn ang="0">
                  <a:pos x="142" y="161"/>
                </a:cxn>
                <a:cxn ang="0">
                  <a:pos x="122" y="176"/>
                </a:cxn>
                <a:cxn ang="0">
                  <a:pos x="68" y="254"/>
                </a:cxn>
                <a:cxn ang="0">
                  <a:pos x="15" y="337"/>
                </a:cxn>
                <a:cxn ang="0">
                  <a:pos x="1" y="578"/>
                </a:cxn>
                <a:cxn ang="0">
                  <a:pos x="58" y="600"/>
                </a:cxn>
                <a:cxn ang="0">
                  <a:pos x="80" y="603"/>
                </a:cxn>
                <a:cxn ang="0">
                  <a:pos x="142" y="612"/>
                </a:cxn>
                <a:cxn ang="0">
                  <a:pos x="240" y="620"/>
                </a:cxn>
                <a:cxn ang="0">
                  <a:pos x="265" y="621"/>
                </a:cxn>
                <a:cxn ang="0">
                  <a:pos x="324" y="620"/>
                </a:cxn>
                <a:cxn ang="0">
                  <a:pos x="358" y="614"/>
                </a:cxn>
                <a:cxn ang="0">
                  <a:pos x="388" y="605"/>
                </a:cxn>
                <a:cxn ang="0">
                  <a:pos x="398" y="598"/>
                </a:cxn>
                <a:cxn ang="0">
                  <a:pos x="408" y="588"/>
                </a:cxn>
                <a:cxn ang="0">
                  <a:pos x="413" y="580"/>
                </a:cxn>
                <a:cxn ang="0">
                  <a:pos x="419" y="545"/>
                </a:cxn>
                <a:cxn ang="0">
                  <a:pos x="440" y="514"/>
                </a:cxn>
                <a:cxn ang="0">
                  <a:pos x="454" y="460"/>
                </a:cxn>
                <a:cxn ang="0">
                  <a:pos x="449" y="449"/>
                </a:cxn>
                <a:cxn ang="0">
                  <a:pos x="445" y="433"/>
                </a:cxn>
                <a:cxn ang="0">
                  <a:pos x="470" y="397"/>
                </a:cxn>
              </a:cxnLst>
              <a:rect l="0" t="0" r="r" b="b"/>
              <a:pathLst>
                <a:path w="471" h="622">
                  <a:moveTo>
                    <a:pt x="455" y="359"/>
                  </a:moveTo>
                  <a:cubicBezTo>
                    <a:pt x="455" y="359"/>
                    <a:pt x="454" y="359"/>
                    <a:pt x="454" y="359"/>
                  </a:cubicBezTo>
                  <a:cubicBezTo>
                    <a:pt x="453" y="358"/>
                    <a:pt x="452" y="357"/>
                    <a:pt x="452" y="356"/>
                  </a:cubicBezTo>
                  <a:cubicBezTo>
                    <a:pt x="451" y="355"/>
                    <a:pt x="451" y="354"/>
                    <a:pt x="450" y="354"/>
                  </a:cubicBezTo>
                  <a:cubicBezTo>
                    <a:pt x="450" y="353"/>
                    <a:pt x="450" y="352"/>
                    <a:pt x="449" y="352"/>
                  </a:cubicBezTo>
                  <a:cubicBezTo>
                    <a:pt x="449" y="351"/>
                    <a:pt x="449" y="351"/>
                    <a:pt x="449" y="350"/>
                  </a:cubicBezTo>
                  <a:cubicBezTo>
                    <a:pt x="449" y="349"/>
                    <a:pt x="449" y="348"/>
                    <a:pt x="450" y="347"/>
                  </a:cubicBezTo>
                  <a:cubicBezTo>
                    <a:pt x="450" y="346"/>
                    <a:pt x="450" y="346"/>
                    <a:pt x="450" y="345"/>
                  </a:cubicBezTo>
                  <a:cubicBezTo>
                    <a:pt x="451" y="343"/>
                    <a:pt x="453" y="341"/>
                    <a:pt x="455" y="339"/>
                  </a:cubicBezTo>
                  <a:cubicBezTo>
                    <a:pt x="456" y="338"/>
                    <a:pt x="458" y="337"/>
                    <a:pt x="459" y="336"/>
                  </a:cubicBezTo>
                  <a:cubicBezTo>
                    <a:pt x="461" y="333"/>
                    <a:pt x="464" y="330"/>
                    <a:pt x="465" y="327"/>
                  </a:cubicBezTo>
                  <a:cubicBezTo>
                    <a:pt x="466" y="325"/>
                    <a:pt x="466" y="324"/>
                    <a:pt x="467" y="323"/>
                  </a:cubicBezTo>
                  <a:cubicBezTo>
                    <a:pt x="467" y="322"/>
                    <a:pt x="467" y="321"/>
                    <a:pt x="467" y="320"/>
                  </a:cubicBezTo>
                  <a:cubicBezTo>
                    <a:pt x="468" y="318"/>
                    <a:pt x="468" y="316"/>
                    <a:pt x="469" y="314"/>
                  </a:cubicBezTo>
                  <a:cubicBezTo>
                    <a:pt x="469" y="313"/>
                    <a:pt x="469" y="312"/>
                    <a:pt x="469" y="310"/>
                  </a:cubicBezTo>
                  <a:cubicBezTo>
                    <a:pt x="469" y="310"/>
                    <a:pt x="469" y="309"/>
                    <a:pt x="469" y="309"/>
                  </a:cubicBezTo>
                  <a:cubicBezTo>
                    <a:pt x="469" y="307"/>
                    <a:pt x="469" y="306"/>
                    <a:pt x="469" y="304"/>
                  </a:cubicBezTo>
                  <a:cubicBezTo>
                    <a:pt x="469" y="303"/>
                    <a:pt x="469" y="302"/>
                    <a:pt x="469" y="302"/>
                  </a:cubicBezTo>
                  <a:cubicBezTo>
                    <a:pt x="468" y="298"/>
                    <a:pt x="468" y="295"/>
                    <a:pt x="467" y="291"/>
                  </a:cubicBezTo>
                  <a:cubicBezTo>
                    <a:pt x="467" y="291"/>
                    <a:pt x="467" y="291"/>
                    <a:pt x="467" y="290"/>
                  </a:cubicBezTo>
                  <a:cubicBezTo>
                    <a:pt x="466" y="288"/>
                    <a:pt x="465" y="285"/>
                    <a:pt x="464" y="283"/>
                  </a:cubicBezTo>
                  <a:cubicBezTo>
                    <a:pt x="464" y="283"/>
                    <a:pt x="464" y="282"/>
                    <a:pt x="463" y="282"/>
                  </a:cubicBezTo>
                  <a:cubicBezTo>
                    <a:pt x="463" y="280"/>
                    <a:pt x="462" y="279"/>
                    <a:pt x="461" y="278"/>
                  </a:cubicBezTo>
                  <a:cubicBezTo>
                    <a:pt x="461" y="276"/>
                    <a:pt x="459" y="274"/>
                    <a:pt x="458" y="273"/>
                  </a:cubicBezTo>
                  <a:cubicBezTo>
                    <a:pt x="456" y="269"/>
                    <a:pt x="454" y="266"/>
                    <a:pt x="451" y="264"/>
                  </a:cubicBezTo>
                  <a:cubicBezTo>
                    <a:pt x="451" y="263"/>
                    <a:pt x="450" y="263"/>
                    <a:pt x="450" y="263"/>
                  </a:cubicBezTo>
                  <a:cubicBezTo>
                    <a:pt x="444" y="257"/>
                    <a:pt x="438" y="253"/>
                    <a:pt x="430" y="250"/>
                  </a:cubicBezTo>
                  <a:cubicBezTo>
                    <a:pt x="429" y="250"/>
                    <a:pt x="428" y="250"/>
                    <a:pt x="427" y="249"/>
                  </a:cubicBezTo>
                  <a:cubicBezTo>
                    <a:pt x="423" y="248"/>
                    <a:pt x="419" y="247"/>
                    <a:pt x="416" y="247"/>
                  </a:cubicBezTo>
                  <a:cubicBezTo>
                    <a:pt x="414" y="246"/>
                    <a:pt x="412" y="246"/>
                    <a:pt x="410" y="246"/>
                  </a:cubicBezTo>
                  <a:cubicBezTo>
                    <a:pt x="409" y="246"/>
                    <a:pt x="409" y="246"/>
                    <a:pt x="408" y="246"/>
                  </a:cubicBezTo>
                  <a:cubicBezTo>
                    <a:pt x="406" y="245"/>
                    <a:pt x="403" y="245"/>
                    <a:pt x="401" y="245"/>
                  </a:cubicBezTo>
                  <a:cubicBezTo>
                    <a:pt x="395" y="245"/>
                    <a:pt x="389" y="245"/>
                    <a:pt x="384" y="245"/>
                  </a:cubicBezTo>
                  <a:cubicBezTo>
                    <a:pt x="350" y="244"/>
                    <a:pt x="316" y="244"/>
                    <a:pt x="282" y="244"/>
                  </a:cubicBezTo>
                  <a:cubicBezTo>
                    <a:pt x="276" y="244"/>
                    <a:pt x="270" y="244"/>
                    <a:pt x="265" y="244"/>
                  </a:cubicBezTo>
                  <a:cubicBezTo>
                    <a:pt x="259" y="244"/>
                    <a:pt x="254" y="243"/>
                    <a:pt x="252" y="242"/>
                  </a:cubicBezTo>
                  <a:cubicBezTo>
                    <a:pt x="248" y="241"/>
                    <a:pt x="247" y="238"/>
                    <a:pt x="247" y="234"/>
                  </a:cubicBezTo>
                  <a:cubicBezTo>
                    <a:pt x="247" y="232"/>
                    <a:pt x="248" y="229"/>
                    <a:pt x="248" y="227"/>
                  </a:cubicBezTo>
                  <a:cubicBezTo>
                    <a:pt x="249" y="226"/>
                    <a:pt x="249" y="224"/>
                    <a:pt x="249" y="223"/>
                  </a:cubicBezTo>
                  <a:cubicBezTo>
                    <a:pt x="250" y="221"/>
                    <a:pt x="250" y="219"/>
                    <a:pt x="251" y="217"/>
                  </a:cubicBezTo>
                  <a:cubicBezTo>
                    <a:pt x="251" y="215"/>
                    <a:pt x="252" y="212"/>
                    <a:pt x="253" y="210"/>
                  </a:cubicBezTo>
                  <a:cubicBezTo>
                    <a:pt x="257" y="198"/>
                    <a:pt x="261" y="186"/>
                    <a:pt x="267" y="175"/>
                  </a:cubicBezTo>
                  <a:cubicBezTo>
                    <a:pt x="274" y="158"/>
                    <a:pt x="283" y="143"/>
                    <a:pt x="289" y="126"/>
                  </a:cubicBezTo>
                  <a:cubicBezTo>
                    <a:pt x="291" y="123"/>
                    <a:pt x="292" y="120"/>
                    <a:pt x="293" y="116"/>
                  </a:cubicBezTo>
                  <a:cubicBezTo>
                    <a:pt x="293" y="115"/>
                    <a:pt x="293" y="115"/>
                    <a:pt x="293" y="114"/>
                  </a:cubicBezTo>
                  <a:cubicBezTo>
                    <a:pt x="295" y="108"/>
                    <a:pt x="296" y="101"/>
                    <a:pt x="296" y="95"/>
                  </a:cubicBezTo>
                  <a:cubicBezTo>
                    <a:pt x="296" y="95"/>
                    <a:pt x="296" y="95"/>
                    <a:pt x="296" y="95"/>
                  </a:cubicBezTo>
                  <a:cubicBezTo>
                    <a:pt x="298" y="60"/>
                    <a:pt x="297" y="23"/>
                    <a:pt x="258" y="2"/>
                  </a:cubicBezTo>
                  <a:cubicBezTo>
                    <a:pt x="245" y="0"/>
                    <a:pt x="229" y="7"/>
                    <a:pt x="229" y="7"/>
                  </a:cubicBezTo>
                  <a:cubicBezTo>
                    <a:pt x="205" y="11"/>
                    <a:pt x="204" y="27"/>
                    <a:pt x="204" y="44"/>
                  </a:cubicBezTo>
                  <a:cubicBezTo>
                    <a:pt x="203" y="45"/>
                    <a:pt x="203" y="47"/>
                    <a:pt x="203" y="49"/>
                  </a:cubicBezTo>
                  <a:cubicBezTo>
                    <a:pt x="203" y="50"/>
                    <a:pt x="203" y="52"/>
                    <a:pt x="203" y="53"/>
                  </a:cubicBezTo>
                  <a:cubicBezTo>
                    <a:pt x="202" y="60"/>
                    <a:pt x="201" y="67"/>
                    <a:pt x="200" y="74"/>
                  </a:cubicBezTo>
                  <a:cubicBezTo>
                    <a:pt x="200" y="75"/>
                    <a:pt x="199" y="76"/>
                    <a:pt x="199" y="78"/>
                  </a:cubicBezTo>
                  <a:cubicBezTo>
                    <a:pt x="199" y="81"/>
                    <a:pt x="198" y="84"/>
                    <a:pt x="197" y="87"/>
                  </a:cubicBezTo>
                  <a:cubicBezTo>
                    <a:pt x="197" y="88"/>
                    <a:pt x="197" y="89"/>
                    <a:pt x="196" y="90"/>
                  </a:cubicBezTo>
                  <a:cubicBezTo>
                    <a:pt x="196" y="92"/>
                    <a:pt x="195" y="94"/>
                    <a:pt x="195" y="95"/>
                  </a:cubicBezTo>
                  <a:cubicBezTo>
                    <a:pt x="194" y="96"/>
                    <a:pt x="194" y="98"/>
                    <a:pt x="194" y="99"/>
                  </a:cubicBezTo>
                  <a:cubicBezTo>
                    <a:pt x="193" y="100"/>
                    <a:pt x="193" y="101"/>
                    <a:pt x="192" y="102"/>
                  </a:cubicBezTo>
                  <a:cubicBezTo>
                    <a:pt x="192" y="103"/>
                    <a:pt x="191" y="104"/>
                    <a:pt x="191" y="105"/>
                  </a:cubicBezTo>
                  <a:cubicBezTo>
                    <a:pt x="191" y="106"/>
                    <a:pt x="191" y="107"/>
                    <a:pt x="190" y="107"/>
                  </a:cubicBezTo>
                  <a:cubicBezTo>
                    <a:pt x="189" y="109"/>
                    <a:pt x="188" y="112"/>
                    <a:pt x="187" y="114"/>
                  </a:cubicBezTo>
                  <a:cubicBezTo>
                    <a:pt x="187" y="115"/>
                    <a:pt x="186" y="116"/>
                    <a:pt x="186" y="117"/>
                  </a:cubicBezTo>
                  <a:cubicBezTo>
                    <a:pt x="184" y="119"/>
                    <a:pt x="183" y="121"/>
                    <a:pt x="182" y="123"/>
                  </a:cubicBezTo>
                  <a:cubicBezTo>
                    <a:pt x="182" y="124"/>
                    <a:pt x="181" y="124"/>
                    <a:pt x="181" y="125"/>
                  </a:cubicBezTo>
                  <a:cubicBezTo>
                    <a:pt x="180" y="126"/>
                    <a:pt x="179" y="128"/>
                    <a:pt x="178" y="129"/>
                  </a:cubicBezTo>
                  <a:cubicBezTo>
                    <a:pt x="173" y="136"/>
                    <a:pt x="167" y="143"/>
                    <a:pt x="159" y="149"/>
                  </a:cubicBezTo>
                  <a:cubicBezTo>
                    <a:pt x="156" y="151"/>
                    <a:pt x="152" y="154"/>
                    <a:pt x="149" y="156"/>
                  </a:cubicBezTo>
                  <a:cubicBezTo>
                    <a:pt x="146" y="158"/>
                    <a:pt x="144" y="159"/>
                    <a:pt x="142" y="161"/>
                  </a:cubicBezTo>
                  <a:cubicBezTo>
                    <a:pt x="141" y="162"/>
                    <a:pt x="140" y="162"/>
                    <a:pt x="138" y="163"/>
                  </a:cubicBezTo>
                  <a:cubicBezTo>
                    <a:pt x="136" y="165"/>
                    <a:pt x="134" y="166"/>
                    <a:pt x="132" y="168"/>
                  </a:cubicBezTo>
                  <a:cubicBezTo>
                    <a:pt x="129" y="171"/>
                    <a:pt x="125" y="173"/>
                    <a:pt x="122" y="176"/>
                  </a:cubicBezTo>
                  <a:cubicBezTo>
                    <a:pt x="113" y="183"/>
                    <a:pt x="104" y="192"/>
                    <a:pt x="97" y="201"/>
                  </a:cubicBezTo>
                  <a:cubicBezTo>
                    <a:pt x="89" y="210"/>
                    <a:pt x="82" y="220"/>
                    <a:pt x="77" y="231"/>
                  </a:cubicBezTo>
                  <a:cubicBezTo>
                    <a:pt x="73" y="239"/>
                    <a:pt x="70" y="246"/>
                    <a:pt x="68" y="254"/>
                  </a:cubicBezTo>
                  <a:cubicBezTo>
                    <a:pt x="64" y="266"/>
                    <a:pt x="59" y="278"/>
                    <a:pt x="54" y="289"/>
                  </a:cubicBezTo>
                  <a:cubicBezTo>
                    <a:pt x="48" y="300"/>
                    <a:pt x="43" y="311"/>
                    <a:pt x="37" y="323"/>
                  </a:cubicBezTo>
                  <a:cubicBezTo>
                    <a:pt x="33" y="331"/>
                    <a:pt x="26" y="338"/>
                    <a:pt x="15" y="337"/>
                  </a:cubicBezTo>
                  <a:cubicBezTo>
                    <a:pt x="3" y="335"/>
                    <a:pt x="1" y="340"/>
                    <a:pt x="1" y="350"/>
                  </a:cubicBezTo>
                  <a:cubicBezTo>
                    <a:pt x="1" y="389"/>
                    <a:pt x="1" y="428"/>
                    <a:pt x="1" y="467"/>
                  </a:cubicBezTo>
                  <a:cubicBezTo>
                    <a:pt x="1" y="504"/>
                    <a:pt x="1" y="541"/>
                    <a:pt x="1" y="578"/>
                  </a:cubicBezTo>
                  <a:cubicBezTo>
                    <a:pt x="1" y="584"/>
                    <a:pt x="0" y="590"/>
                    <a:pt x="10" y="591"/>
                  </a:cubicBezTo>
                  <a:cubicBezTo>
                    <a:pt x="22" y="593"/>
                    <a:pt x="35" y="595"/>
                    <a:pt x="47" y="598"/>
                  </a:cubicBezTo>
                  <a:cubicBezTo>
                    <a:pt x="51" y="598"/>
                    <a:pt x="55" y="599"/>
                    <a:pt x="58" y="600"/>
                  </a:cubicBezTo>
                  <a:cubicBezTo>
                    <a:pt x="60" y="600"/>
                    <a:pt x="62" y="600"/>
                    <a:pt x="64" y="600"/>
                  </a:cubicBezTo>
                  <a:cubicBezTo>
                    <a:pt x="67" y="601"/>
                    <a:pt x="71" y="602"/>
                    <a:pt x="75" y="602"/>
                  </a:cubicBezTo>
                  <a:cubicBezTo>
                    <a:pt x="76" y="603"/>
                    <a:pt x="78" y="603"/>
                    <a:pt x="80" y="603"/>
                  </a:cubicBezTo>
                  <a:cubicBezTo>
                    <a:pt x="85" y="604"/>
                    <a:pt x="91" y="605"/>
                    <a:pt x="96" y="606"/>
                  </a:cubicBezTo>
                  <a:cubicBezTo>
                    <a:pt x="101" y="606"/>
                    <a:pt x="105" y="607"/>
                    <a:pt x="109" y="607"/>
                  </a:cubicBezTo>
                  <a:cubicBezTo>
                    <a:pt x="120" y="609"/>
                    <a:pt x="131" y="610"/>
                    <a:pt x="142" y="612"/>
                  </a:cubicBezTo>
                  <a:cubicBezTo>
                    <a:pt x="162" y="614"/>
                    <a:pt x="181" y="616"/>
                    <a:pt x="201" y="617"/>
                  </a:cubicBezTo>
                  <a:cubicBezTo>
                    <a:pt x="212" y="618"/>
                    <a:pt x="224" y="619"/>
                    <a:pt x="235" y="620"/>
                  </a:cubicBezTo>
                  <a:cubicBezTo>
                    <a:pt x="237" y="620"/>
                    <a:pt x="239" y="620"/>
                    <a:pt x="240" y="620"/>
                  </a:cubicBezTo>
                  <a:cubicBezTo>
                    <a:pt x="244" y="620"/>
                    <a:pt x="247" y="620"/>
                    <a:pt x="250" y="621"/>
                  </a:cubicBezTo>
                  <a:cubicBezTo>
                    <a:pt x="252" y="621"/>
                    <a:pt x="253" y="621"/>
                    <a:pt x="255" y="621"/>
                  </a:cubicBezTo>
                  <a:cubicBezTo>
                    <a:pt x="258" y="621"/>
                    <a:pt x="262" y="621"/>
                    <a:pt x="265" y="621"/>
                  </a:cubicBezTo>
                  <a:cubicBezTo>
                    <a:pt x="278" y="622"/>
                    <a:pt x="291" y="622"/>
                    <a:pt x="304" y="621"/>
                  </a:cubicBezTo>
                  <a:cubicBezTo>
                    <a:pt x="309" y="621"/>
                    <a:pt x="314" y="620"/>
                    <a:pt x="319" y="620"/>
                  </a:cubicBezTo>
                  <a:cubicBezTo>
                    <a:pt x="320" y="620"/>
                    <a:pt x="322" y="620"/>
                    <a:pt x="324" y="620"/>
                  </a:cubicBezTo>
                  <a:cubicBezTo>
                    <a:pt x="328" y="619"/>
                    <a:pt x="333" y="618"/>
                    <a:pt x="338" y="618"/>
                  </a:cubicBezTo>
                  <a:cubicBezTo>
                    <a:pt x="340" y="618"/>
                    <a:pt x="341" y="617"/>
                    <a:pt x="343" y="617"/>
                  </a:cubicBezTo>
                  <a:cubicBezTo>
                    <a:pt x="348" y="616"/>
                    <a:pt x="353" y="615"/>
                    <a:pt x="358" y="614"/>
                  </a:cubicBezTo>
                  <a:cubicBezTo>
                    <a:pt x="367" y="612"/>
                    <a:pt x="376" y="610"/>
                    <a:pt x="383" y="607"/>
                  </a:cubicBezTo>
                  <a:cubicBezTo>
                    <a:pt x="384" y="607"/>
                    <a:pt x="384" y="606"/>
                    <a:pt x="385" y="606"/>
                  </a:cubicBezTo>
                  <a:cubicBezTo>
                    <a:pt x="386" y="606"/>
                    <a:pt x="387" y="605"/>
                    <a:pt x="388" y="605"/>
                  </a:cubicBezTo>
                  <a:cubicBezTo>
                    <a:pt x="388" y="604"/>
                    <a:pt x="389" y="604"/>
                    <a:pt x="390" y="603"/>
                  </a:cubicBezTo>
                  <a:cubicBezTo>
                    <a:pt x="391" y="603"/>
                    <a:pt x="392" y="602"/>
                    <a:pt x="393" y="602"/>
                  </a:cubicBezTo>
                  <a:cubicBezTo>
                    <a:pt x="395" y="601"/>
                    <a:pt x="396" y="599"/>
                    <a:pt x="398" y="598"/>
                  </a:cubicBezTo>
                  <a:cubicBezTo>
                    <a:pt x="400" y="596"/>
                    <a:pt x="402" y="595"/>
                    <a:pt x="404" y="593"/>
                  </a:cubicBezTo>
                  <a:cubicBezTo>
                    <a:pt x="405" y="592"/>
                    <a:pt x="406" y="591"/>
                    <a:pt x="406" y="590"/>
                  </a:cubicBezTo>
                  <a:cubicBezTo>
                    <a:pt x="407" y="590"/>
                    <a:pt x="407" y="589"/>
                    <a:pt x="408" y="588"/>
                  </a:cubicBezTo>
                  <a:cubicBezTo>
                    <a:pt x="409" y="587"/>
                    <a:pt x="410" y="586"/>
                    <a:pt x="410" y="585"/>
                  </a:cubicBezTo>
                  <a:cubicBezTo>
                    <a:pt x="411" y="584"/>
                    <a:pt x="411" y="583"/>
                    <a:pt x="412" y="582"/>
                  </a:cubicBezTo>
                  <a:cubicBezTo>
                    <a:pt x="412" y="582"/>
                    <a:pt x="413" y="581"/>
                    <a:pt x="413" y="580"/>
                  </a:cubicBezTo>
                  <a:cubicBezTo>
                    <a:pt x="413" y="579"/>
                    <a:pt x="414" y="578"/>
                    <a:pt x="414" y="577"/>
                  </a:cubicBezTo>
                  <a:cubicBezTo>
                    <a:pt x="415" y="575"/>
                    <a:pt x="415" y="574"/>
                    <a:pt x="416" y="572"/>
                  </a:cubicBezTo>
                  <a:cubicBezTo>
                    <a:pt x="418" y="564"/>
                    <a:pt x="419" y="555"/>
                    <a:pt x="419" y="545"/>
                  </a:cubicBezTo>
                  <a:cubicBezTo>
                    <a:pt x="419" y="542"/>
                    <a:pt x="419" y="539"/>
                    <a:pt x="419" y="537"/>
                  </a:cubicBezTo>
                  <a:cubicBezTo>
                    <a:pt x="421" y="529"/>
                    <a:pt x="426" y="523"/>
                    <a:pt x="434" y="518"/>
                  </a:cubicBezTo>
                  <a:cubicBezTo>
                    <a:pt x="436" y="517"/>
                    <a:pt x="438" y="516"/>
                    <a:pt x="440" y="514"/>
                  </a:cubicBezTo>
                  <a:cubicBezTo>
                    <a:pt x="442" y="512"/>
                    <a:pt x="445" y="509"/>
                    <a:pt x="447" y="507"/>
                  </a:cubicBezTo>
                  <a:cubicBezTo>
                    <a:pt x="447" y="506"/>
                    <a:pt x="448" y="505"/>
                    <a:pt x="448" y="505"/>
                  </a:cubicBezTo>
                  <a:cubicBezTo>
                    <a:pt x="457" y="492"/>
                    <a:pt x="459" y="475"/>
                    <a:pt x="454" y="460"/>
                  </a:cubicBezTo>
                  <a:cubicBezTo>
                    <a:pt x="454" y="460"/>
                    <a:pt x="454" y="459"/>
                    <a:pt x="453" y="458"/>
                  </a:cubicBezTo>
                  <a:cubicBezTo>
                    <a:pt x="453" y="457"/>
                    <a:pt x="452" y="455"/>
                    <a:pt x="451" y="454"/>
                  </a:cubicBezTo>
                  <a:cubicBezTo>
                    <a:pt x="450" y="452"/>
                    <a:pt x="450" y="451"/>
                    <a:pt x="449" y="449"/>
                  </a:cubicBezTo>
                  <a:cubicBezTo>
                    <a:pt x="444" y="443"/>
                    <a:pt x="442" y="439"/>
                    <a:pt x="443" y="436"/>
                  </a:cubicBezTo>
                  <a:cubicBezTo>
                    <a:pt x="443" y="436"/>
                    <a:pt x="443" y="435"/>
                    <a:pt x="444" y="435"/>
                  </a:cubicBezTo>
                  <a:cubicBezTo>
                    <a:pt x="444" y="434"/>
                    <a:pt x="445" y="434"/>
                    <a:pt x="445" y="433"/>
                  </a:cubicBezTo>
                  <a:cubicBezTo>
                    <a:pt x="447" y="431"/>
                    <a:pt x="450" y="429"/>
                    <a:pt x="454" y="427"/>
                  </a:cubicBezTo>
                  <a:cubicBezTo>
                    <a:pt x="455" y="426"/>
                    <a:pt x="456" y="425"/>
                    <a:pt x="457" y="424"/>
                  </a:cubicBezTo>
                  <a:cubicBezTo>
                    <a:pt x="465" y="417"/>
                    <a:pt x="469" y="408"/>
                    <a:pt x="470" y="397"/>
                  </a:cubicBezTo>
                  <a:cubicBezTo>
                    <a:pt x="471" y="382"/>
                    <a:pt x="466" y="370"/>
                    <a:pt x="455" y="35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/>
            </a:p>
          </p:txBody>
        </p:sp>
        <p:sp>
          <p:nvSpPr>
            <p:cNvPr id="33" name="Freeform 61">
              <a:extLst>
                <a:ext uri="{FF2B5EF4-FFF2-40B4-BE49-F238E27FC236}">
                  <a16:creationId xmlns:a16="http://schemas.microsoft.com/office/drawing/2014/main" id="{31BA84FF-DE2C-4E6B-B112-5C3D4631B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" y="3050"/>
              <a:ext cx="91" cy="226"/>
            </a:xfrm>
            <a:custGeom>
              <a:avLst/>
              <a:gdLst/>
              <a:ahLst/>
              <a:cxnLst>
                <a:cxn ang="0">
                  <a:pos x="97" y="2"/>
                </a:cxn>
                <a:cxn ang="0">
                  <a:pos x="74" y="0"/>
                </a:cxn>
                <a:cxn ang="0">
                  <a:pos x="1" y="0"/>
                </a:cxn>
                <a:cxn ang="0">
                  <a:pos x="0" y="4"/>
                </a:cxn>
                <a:cxn ang="0">
                  <a:pos x="0" y="278"/>
                </a:cxn>
                <a:cxn ang="0">
                  <a:pos x="12" y="289"/>
                </a:cxn>
                <a:cxn ang="0">
                  <a:pos x="83" y="288"/>
                </a:cxn>
                <a:cxn ang="0">
                  <a:pos x="117" y="255"/>
                </a:cxn>
                <a:cxn ang="0">
                  <a:pos x="116" y="26"/>
                </a:cxn>
                <a:cxn ang="0">
                  <a:pos x="97" y="2"/>
                </a:cxn>
              </a:cxnLst>
              <a:rect l="0" t="0" r="r" b="b"/>
              <a:pathLst>
                <a:path w="117" h="289">
                  <a:moveTo>
                    <a:pt x="97" y="2"/>
                  </a:moveTo>
                  <a:cubicBezTo>
                    <a:pt x="89" y="1"/>
                    <a:pt x="82" y="0"/>
                    <a:pt x="74" y="0"/>
                  </a:cubicBezTo>
                  <a:cubicBezTo>
                    <a:pt x="50" y="0"/>
                    <a:pt x="26" y="0"/>
                    <a:pt x="1" y="0"/>
                  </a:cubicBezTo>
                  <a:cubicBezTo>
                    <a:pt x="1" y="1"/>
                    <a:pt x="0" y="2"/>
                    <a:pt x="0" y="4"/>
                  </a:cubicBezTo>
                  <a:cubicBezTo>
                    <a:pt x="0" y="95"/>
                    <a:pt x="0" y="187"/>
                    <a:pt x="0" y="278"/>
                  </a:cubicBezTo>
                  <a:cubicBezTo>
                    <a:pt x="0" y="286"/>
                    <a:pt x="4" y="289"/>
                    <a:pt x="12" y="289"/>
                  </a:cubicBezTo>
                  <a:cubicBezTo>
                    <a:pt x="36" y="289"/>
                    <a:pt x="60" y="289"/>
                    <a:pt x="83" y="288"/>
                  </a:cubicBezTo>
                  <a:cubicBezTo>
                    <a:pt x="102" y="288"/>
                    <a:pt x="116" y="273"/>
                    <a:pt x="117" y="255"/>
                  </a:cubicBezTo>
                  <a:cubicBezTo>
                    <a:pt x="117" y="179"/>
                    <a:pt x="117" y="102"/>
                    <a:pt x="116" y="26"/>
                  </a:cubicBezTo>
                  <a:cubicBezTo>
                    <a:pt x="116" y="12"/>
                    <a:pt x="110" y="5"/>
                    <a:pt x="97" y="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6494780-8A9E-4076-9115-369F9A307E6B}"/>
              </a:ext>
            </a:extLst>
          </p:cNvPr>
          <p:cNvGrpSpPr/>
          <p:nvPr/>
        </p:nvGrpSpPr>
        <p:grpSpPr>
          <a:xfrm>
            <a:off x="5928897" y="5263899"/>
            <a:ext cx="518270" cy="359630"/>
            <a:chOff x="4054475" y="6153150"/>
            <a:chExt cx="1223963" cy="849313"/>
          </a:xfrm>
          <a:solidFill>
            <a:schemeClr val="accent1"/>
          </a:solidFill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DB8DEC23-E46D-4611-9FED-C8307577E5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2350" y="6392863"/>
              <a:ext cx="147638" cy="14605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 dirty="0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B5490F9-C010-4FDF-BE3B-13748434C3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1513" y="6802438"/>
              <a:ext cx="198438" cy="20002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 dirty="0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7D74CFCC-0C0C-4F99-8079-51150A8446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0950" y="6181725"/>
              <a:ext cx="141288" cy="13493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 dirty="0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FBBC9257-C0CA-44F1-BBC8-37713EDA9C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7150" y="6475413"/>
              <a:ext cx="141288" cy="13493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 dirty="0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B10B9627-004E-4C03-A726-1953F732A1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4475" y="6153150"/>
              <a:ext cx="134938" cy="13493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 dirty="0"/>
            </a:p>
          </p:txBody>
        </p:sp>
        <p:sp>
          <p:nvSpPr>
            <p:cNvPr id="40" name="Freeform 81">
              <a:extLst>
                <a:ext uri="{FF2B5EF4-FFF2-40B4-BE49-F238E27FC236}">
                  <a16:creationId xmlns:a16="http://schemas.microsoft.com/office/drawing/2014/main" id="{211C13AF-C2BF-43AF-A75A-828549EE4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6211888"/>
              <a:ext cx="350838" cy="204788"/>
            </a:xfrm>
            <a:custGeom>
              <a:avLst/>
              <a:gdLst/>
              <a:ahLst/>
              <a:cxnLst>
                <a:cxn ang="0">
                  <a:pos x="214" y="129"/>
                </a:cxn>
                <a:cxn ang="0">
                  <a:pos x="0" y="11"/>
                </a:cxn>
                <a:cxn ang="0">
                  <a:pos x="7" y="0"/>
                </a:cxn>
                <a:cxn ang="0">
                  <a:pos x="221" y="114"/>
                </a:cxn>
                <a:cxn ang="0">
                  <a:pos x="214" y="129"/>
                </a:cxn>
              </a:cxnLst>
              <a:rect l="0" t="0" r="r" b="b"/>
              <a:pathLst>
                <a:path w="221" h="129">
                  <a:moveTo>
                    <a:pt x="214" y="129"/>
                  </a:moveTo>
                  <a:lnTo>
                    <a:pt x="0" y="11"/>
                  </a:lnTo>
                  <a:lnTo>
                    <a:pt x="7" y="0"/>
                  </a:lnTo>
                  <a:lnTo>
                    <a:pt x="221" y="114"/>
                  </a:lnTo>
                  <a:lnTo>
                    <a:pt x="214" y="12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 dirty="0"/>
            </a:p>
          </p:txBody>
        </p:sp>
        <p:sp>
          <p:nvSpPr>
            <p:cNvPr id="41" name="Freeform 82">
              <a:extLst>
                <a:ext uri="{FF2B5EF4-FFF2-40B4-BE49-F238E27FC236}">
                  <a16:creationId xmlns:a16="http://schemas.microsoft.com/office/drawing/2014/main" id="{AF2987A8-B5B7-41DE-9DD5-F11E25948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6246813"/>
              <a:ext cx="415925" cy="246063"/>
            </a:xfrm>
            <a:custGeom>
              <a:avLst/>
              <a:gdLst/>
              <a:ahLst/>
              <a:cxnLst>
                <a:cxn ang="0">
                  <a:pos x="111" y="155"/>
                </a:cxn>
                <a:cxn ang="0">
                  <a:pos x="0" y="155"/>
                </a:cxn>
                <a:cxn ang="0">
                  <a:pos x="0" y="140"/>
                </a:cxn>
                <a:cxn ang="0">
                  <a:pos x="107" y="140"/>
                </a:cxn>
                <a:cxn ang="0">
                  <a:pos x="254" y="0"/>
                </a:cxn>
                <a:cxn ang="0">
                  <a:pos x="262" y="11"/>
                </a:cxn>
                <a:cxn ang="0">
                  <a:pos x="111" y="155"/>
                </a:cxn>
              </a:cxnLst>
              <a:rect l="0" t="0" r="r" b="b"/>
              <a:pathLst>
                <a:path w="262" h="155">
                  <a:moveTo>
                    <a:pt x="111" y="155"/>
                  </a:moveTo>
                  <a:lnTo>
                    <a:pt x="0" y="155"/>
                  </a:lnTo>
                  <a:lnTo>
                    <a:pt x="0" y="140"/>
                  </a:lnTo>
                  <a:lnTo>
                    <a:pt x="107" y="140"/>
                  </a:lnTo>
                  <a:lnTo>
                    <a:pt x="254" y="0"/>
                  </a:lnTo>
                  <a:lnTo>
                    <a:pt x="262" y="11"/>
                  </a:lnTo>
                  <a:lnTo>
                    <a:pt x="111" y="15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 dirty="0"/>
            </a:p>
          </p:txBody>
        </p:sp>
        <p:sp>
          <p:nvSpPr>
            <p:cNvPr id="42" name="Freeform 83">
              <a:extLst>
                <a:ext uri="{FF2B5EF4-FFF2-40B4-BE49-F238E27FC236}">
                  <a16:creationId xmlns:a16="http://schemas.microsoft.com/office/drawing/2014/main" id="{5ADA54CC-0844-48BF-A2CB-AE9E81A7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6013" y="6469063"/>
              <a:ext cx="287338" cy="82550"/>
            </a:xfrm>
            <a:custGeom>
              <a:avLst/>
              <a:gdLst/>
              <a:ahLst/>
              <a:cxnLst>
                <a:cxn ang="0">
                  <a:pos x="177" y="52"/>
                </a:cxn>
                <a:cxn ang="0">
                  <a:pos x="0" y="15"/>
                </a:cxn>
                <a:cxn ang="0">
                  <a:pos x="4" y="0"/>
                </a:cxn>
                <a:cxn ang="0">
                  <a:pos x="181" y="41"/>
                </a:cxn>
                <a:cxn ang="0">
                  <a:pos x="177" y="52"/>
                </a:cxn>
              </a:cxnLst>
              <a:rect l="0" t="0" r="r" b="b"/>
              <a:pathLst>
                <a:path w="181" h="52">
                  <a:moveTo>
                    <a:pt x="177" y="52"/>
                  </a:moveTo>
                  <a:lnTo>
                    <a:pt x="0" y="15"/>
                  </a:lnTo>
                  <a:lnTo>
                    <a:pt x="4" y="0"/>
                  </a:lnTo>
                  <a:lnTo>
                    <a:pt x="181" y="41"/>
                  </a:lnTo>
                  <a:lnTo>
                    <a:pt x="177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 dirty="0"/>
            </a:p>
          </p:txBody>
        </p:sp>
        <p:sp>
          <p:nvSpPr>
            <p:cNvPr id="43" name="Freeform 84">
              <a:extLst>
                <a:ext uri="{FF2B5EF4-FFF2-40B4-BE49-F238E27FC236}">
                  <a16:creationId xmlns:a16="http://schemas.microsoft.com/office/drawing/2014/main" id="{9060D2C6-59D5-41C3-A231-B327FADC92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5475" y="6316663"/>
              <a:ext cx="292100" cy="298450"/>
            </a:xfrm>
            <a:custGeom>
              <a:avLst/>
              <a:gdLst/>
              <a:ahLst/>
              <a:cxnLst>
                <a:cxn ang="0">
                  <a:pos x="25" y="51"/>
                </a:cxn>
                <a:cxn ang="0">
                  <a:pos x="0" y="26"/>
                </a:cxn>
                <a:cxn ang="0">
                  <a:pos x="25" y="0"/>
                </a:cxn>
                <a:cxn ang="0">
                  <a:pos x="50" y="26"/>
                </a:cxn>
                <a:cxn ang="0">
                  <a:pos x="25" y="51"/>
                </a:cxn>
                <a:cxn ang="0">
                  <a:pos x="25" y="5"/>
                </a:cxn>
                <a:cxn ang="0">
                  <a:pos x="5" y="26"/>
                </a:cxn>
                <a:cxn ang="0">
                  <a:pos x="25" y="46"/>
                </a:cxn>
                <a:cxn ang="0">
                  <a:pos x="45" y="26"/>
                </a:cxn>
                <a:cxn ang="0">
                  <a:pos x="25" y="5"/>
                </a:cxn>
              </a:cxnLst>
              <a:rect l="0" t="0" r="r" b="b"/>
              <a:pathLst>
                <a:path w="50" h="51">
                  <a:moveTo>
                    <a:pt x="25" y="51"/>
                  </a:moveTo>
                  <a:cubicBezTo>
                    <a:pt x="11" y="51"/>
                    <a:pt x="0" y="39"/>
                    <a:pt x="0" y="26"/>
                  </a:cubicBezTo>
                  <a:cubicBezTo>
                    <a:pt x="0" y="12"/>
                    <a:pt x="11" y="0"/>
                    <a:pt x="25" y="0"/>
                  </a:cubicBezTo>
                  <a:cubicBezTo>
                    <a:pt x="39" y="0"/>
                    <a:pt x="50" y="12"/>
                    <a:pt x="50" y="26"/>
                  </a:cubicBezTo>
                  <a:cubicBezTo>
                    <a:pt x="50" y="39"/>
                    <a:pt x="39" y="51"/>
                    <a:pt x="25" y="51"/>
                  </a:cubicBezTo>
                  <a:close/>
                  <a:moveTo>
                    <a:pt x="25" y="5"/>
                  </a:moveTo>
                  <a:cubicBezTo>
                    <a:pt x="14" y="5"/>
                    <a:pt x="5" y="14"/>
                    <a:pt x="5" y="26"/>
                  </a:cubicBezTo>
                  <a:cubicBezTo>
                    <a:pt x="5" y="37"/>
                    <a:pt x="14" y="46"/>
                    <a:pt x="25" y="46"/>
                  </a:cubicBezTo>
                  <a:cubicBezTo>
                    <a:pt x="36" y="46"/>
                    <a:pt x="45" y="37"/>
                    <a:pt x="45" y="26"/>
                  </a:cubicBezTo>
                  <a:cubicBezTo>
                    <a:pt x="45" y="14"/>
                    <a:pt x="36" y="5"/>
                    <a:pt x="25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 dirty="0"/>
            </a:p>
          </p:txBody>
        </p:sp>
        <p:sp>
          <p:nvSpPr>
            <p:cNvPr id="44" name="Freeform 85">
              <a:extLst>
                <a:ext uri="{FF2B5EF4-FFF2-40B4-BE49-F238E27FC236}">
                  <a16:creationId xmlns:a16="http://schemas.microsoft.com/office/drawing/2014/main" id="{4B8D5C4A-ED61-4C1A-AEC2-306AC8E10B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52900" y="6562725"/>
              <a:ext cx="187325" cy="187325"/>
            </a:xfrm>
            <a:custGeom>
              <a:avLst/>
              <a:gdLst/>
              <a:ahLst/>
              <a:cxnLst>
                <a:cxn ang="0">
                  <a:pos x="16" y="32"/>
                </a:cxn>
                <a:cxn ang="0">
                  <a:pos x="0" y="16"/>
                </a:cxn>
                <a:cxn ang="0">
                  <a:pos x="16" y="0"/>
                </a:cxn>
                <a:cxn ang="0">
                  <a:pos x="32" y="16"/>
                </a:cxn>
                <a:cxn ang="0">
                  <a:pos x="16" y="32"/>
                </a:cxn>
                <a:cxn ang="0">
                  <a:pos x="16" y="4"/>
                </a:cxn>
                <a:cxn ang="0">
                  <a:pos x="4" y="16"/>
                </a:cxn>
                <a:cxn ang="0">
                  <a:pos x="16" y="28"/>
                </a:cxn>
                <a:cxn ang="0">
                  <a:pos x="28" y="16"/>
                </a:cxn>
                <a:cxn ang="0">
                  <a:pos x="16" y="4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4"/>
                  </a:moveTo>
                  <a:cubicBezTo>
                    <a:pt x="10" y="4"/>
                    <a:pt x="4" y="9"/>
                    <a:pt x="4" y="16"/>
                  </a:cubicBezTo>
                  <a:cubicBezTo>
                    <a:pt x="4" y="23"/>
                    <a:pt x="10" y="28"/>
                    <a:pt x="16" y="28"/>
                  </a:cubicBezTo>
                  <a:cubicBezTo>
                    <a:pt x="23" y="28"/>
                    <a:pt x="28" y="23"/>
                    <a:pt x="28" y="16"/>
                  </a:cubicBezTo>
                  <a:cubicBezTo>
                    <a:pt x="28" y="9"/>
                    <a:pt x="23" y="4"/>
                    <a:pt x="16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 dirty="0"/>
            </a:p>
          </p:txBody>
        </p:sp>
        <p:sp>
          <p:nvSpPr>
            <p:cNvPr id="45" name="Freeform 86">
              <a:extLst>
                <a:ext uri="{FF2B5EF4-FFF2-40B4-BE49-F238E27FC236}">
                  <a16:creationId xmlns:a16="http://schemas.microsoft.com/office/drawing/2014/main" id="{2B2FD628-8A21-4F2B-8F32-221A5E10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1650" y="6527800"/>
              <a:ext cx="163513" cy="104775"/>
            </a:xfrm>
            <a:custGeom>
              <a:avLst/>
              <a:gdLst/>
              <a:ahLst/>
              <a:cxnLst>
                <a:cxn ang="0">
                  <a:pos x="7" y="66"/>
                </a:cxn>
                <a:cxn ang="0">
                  <a:pos x="0" y="55"/>
                </a:cxn>
                <a:cxn ang="0">
                  <a:pos x="96" y="0"/>
                </a:cxn>
                <a:cxn ang="0">
                  <a:pos x="103" y="11"/>
                </a:cxn>
                <a:cxn ang="0">
                  <a:pos x="7" y="66"/>
                </a:cxn>
              </a:cxnLst>
              <a:rect l="0" t="0" r="r" b="b"/>
              <a:pathLst>
                <a:path w="103" h="66">
                  <a:moveTo>
                    <a:pt x="7" y="66"/>
                  </a:moveTo>
                  <a:lnTo>
                    <a:pt x="0" y="55"/>
                  </a:lnTo>
                  <a:lnTo>
                    <a:pt x="96" y="0"/>
                  </a:lnTo>
                  <a:lnTo>
                    <a:pt x="103" y="11"/>
                  </a:lnTo>
                  <a:lnTo>
                    <a:pt x="7" y="6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 dirty="0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AB35B9A7-6686-43C7-A687-19385583D1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8825" y="6597650"/>
              <a:ext cx="23813" cy="2413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 dirty="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A859F56-9811-4A45-B0ED-2AC6F933D342}"/>
              </a:ext>
            </a:extLst>
          </p:cNvPr>
          <p:cNvGrpSpPr/>
          <p:nvPr/>
        </p:nvGrpSpPr>
        <p:grpSpPr>
          <a:xfrm>
            <a:off x="6321680" y="4412198"/>
            <a:ext cx="481207" cy="437279"/>
            <a:chOff x="4059238" y="4618038"/>
            <a:chExt cx="1147762" cy="1042988"/>
          </a:xfrm>
          <a:solidFill>
            <a:schemeClr val="accent1"/>
          </a:solidFill>
        </p:grpSpPr>
        <p:sp>
          <p:nvSpPr>
            <p:cNvPr id="48" name="Freeform 66">
              <a:extLst>
                <a:ext uri="{FF2B5EF4-FFF2-40B4-BE49-F238E27FC236}">
                  <a16:creationId xmlns:a16="http://schemas.microsoft.com/office/drawing/2014/main" id="{5BDD0FF8-3B43-4892-B499-3529FBACE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59238" y="4957763"/>
              <a:ext cx="696913" cy="703263"/>
            </a:xfrm>
            <a:custGeom>
              <a:avLst/>
              <a:gdLst/>
              <a:ahLst/>
              <a:cxnLst>
                <a:cxn ang="0">
                  <a:pos x="47" y="113"/>
                </a:cxn>
                <a:cxn ang="0">
                  <a:pos x="50" y="103"/>
                </a:cxn>
                <a:cxn ang="0">
                  <a:pos x="44" y="101"/>
                </a:cxn>
                <a:cxn ang="0">
                  <a:pos x="19" y="95"/>
                </a:cxn>
                <a:cxn ang="0">
                  <a:pos x="19" y="70"/>
                </a:cxn>
                <a:cxn ang="0">
                  <a:pos x="15" y="72"/>
                </a:cxn>
                <a:cxn ang="0">
                  <a:pos x="2" y="52"/>
                </a:cxn>
                <a:cxn ang="0">
                  <a:pos x="19" y="50"/>
                </a:cxn>
                <a:cxn ang="0">
                  <a:pos x="19" y="33"/>
                </a:cxn>
                <a:cxn ang="0">
                  <a:pos x="24" y="19"/>
                </a:cxn>
                <a:cxn ang="0">
                  <a:pos x="49" y="17"/>
                </a:cxn>
                <a:cxn ang="0">
                  <a:pos x="49" y="16"/>
                </a:cxn>
                <a:cxn ang="0">
                  <a:pos x="68" y="2"/>
                </a:cxn>
                <a:cxn ang="0">
                  <a:pos x="71" y="16"/>
                </a:cxn>
                <a:cxn ang="0">
                  <a:pos x="70" y="19"/>
                </a:cxn>
                <a:cxn ang="0">
                  <a:pos x="101" y="26"/>
                </a:cxn>
                <a:cxn ang="0">
                  <a:pos x="101" y="50"/>
                </a:cxn>
                <a:cxn ang="0">
                  <a:pos x="104" y="48"/>
                </a:cxn>
                <a:cxn ang="0">
                  <a:pos x="118" y="66"/>
                </a:cxn>
                <a:cxn ang="0">
                  <a:pos x="104" y="71"/>
                </a:cxn>
                <a:cxn ang="0">
                  <a:pos x="101" y="70"/>
                </a:cxn>
                <a:cxn ang="0">
                  <a:pos x="101" y="95"/>
                </a:cxn>
                <a:cxn ang="0">
                  <a:pos x="71" y="101"/>
                </a:cxn>
                <a:cxn ang="0">
                  <a:pos x="71" y="104"/>
                </a:cxn>
                <a:cxn ang="0">
                  <a:pos x="67" y="118"/>
                </a:cxn>
                <a:cxn ang="0">
                  <a:pos x="44" y="96"/>
                </a:cxn>
                <a:cxn ang="0">
                  <a:pos x="55" y="105"/>
                </a:cxn>
                <a:cxn ang="0">
                  <a:pos x="52" y="111"/>
                </a:cxn>
                <a:cxn ang="0">
                  <a:pos x="68" y="111"/>
                </a:cxn>
                <a:cxn ang="0">
                  <a:pos x="66" y="105"/>
                </a:cxn>
                <a:cxn ang="0">
                  <a:pos x="85" y="96"/>
                </a:cxn>
                <a:cxn ang="0">
                  <a:pos x="96" y="95"/>
                </a:cxn>
                <a:cxn ang="0">
                  <a:pos x="99" y="65"/>
                </a:cxn>
                <a:cxn ang="0">
                  <a:pos x="107" y="67"/>
                </a:cxn>
                <a:cxn ang="0">
                  <a:pos x="113" y="66"/>
                </a:cxn>
                <a:cxn ang="0">
                  <a:pos x="108" y="53"/>
                </a:cxn>
                <a:cxn ang="0">
                  <a:pos x="99" y="55"/>
                </a:cxn>
                <a:cxn ang="0">
                  <a:pos x="96" y="26"/>
                </a:cxn>
                <a:cxn ang="0">
                  <a:pos x="87" y="24"/>
                </a:cxn>
                <a:cxn ang="0">
                  <a:pos x="65" y="16"/>
                </a:cxn>
                <a:cxn ang="0">
                  <a:pos x="68" y="9"/>
                </a:cxn>
                <a:cxn ang="0">
                  <a:pos x="52" y="9"/>
                </a:cxn>
                <a:cxn ang="0">
                  <a:pos x="55" y="15"/>
                </a:cxn>
                <a:cxn ang="0">
                  <a:pos x="49" y="24"/>
                </a:cxn>
                <a:cxn ang="0">
                  <a:pos x="24" y="24"/>
                </a:cxn>
                <a:cxn ang="0">
                  <a:pos x="24" y="37"/>
                </a:cxn>
                <a:cxn ang="0">
                  <a:pos x="22" y="55"/>
                </a:cxn>
                <a:cxn ang="0">
                  <a:pos x="9" y="52"/>
                </a:cxn>
                <a:cxn ang="0">
                  <a:pos x="9" y="68"/>
                </a:cxn>
                <a:cxn ang="0">
                  <a:pos x="16" y="65"/>
                </a:cxn>
                <a:cxn ang="0">
                  <a:pos x="24" y="75"/>
                </a:cxn>
                <a:cxn ang="0">
                  <a:pos x="25" y="96"/>
                </a:cxn>
              </a:cxnLst>
              <a:rect l="0" t="0" r="r" b="b"/>
              <a:pathLst>
                <a:path w="119" h="120">
                  <a:moveTo>
                    <a:pt x="60" y="120"/>
                  </a:moveTo>
                  <a:cubicBezTo>
                    <a:pt x="58" y="120"/>
                    <a:pt x="55" y="119"/>
                    <a:pt x="53" y="118"/>
                  </a:cubicBezTo>
                  <a:cubicBezTo>
                    <a:pt x="50" y="117"/>
                    <a:pt x="47" y="116"/>
                    <a:pt x="47" y="113"/>
                  </a:cubicBezTo>
                  <a:cubicBezTo>
                    <a:pt x="46" y="110"/>
                    <a:pt x="46" y="107"/>
                    <a:pt x="48" y="105"/>
                  </a:cubicBezTo>
                  <a:cubicBezTo>
                    <a:pt x="48" y="105"/>
                    <a:pt x="49" y="104"/>
                    <a:pt x="49" y="104"/>
                  </a:cubicBezTo>
                  <a:cubicBezTo>
                    <a:pt x="49" y="103"/>
                    <a:pt x="50" y="103"/>
                    <a:pt x="50" y="103"/>
                  </a:cubicBezTo>
                  <a:cubicBezTo>
                    <a:pt x="50" y="102"/>
                    <a:pt x="50" y="102"/>
                    <a:pt x="50" y="101"/>
                  </a:cubicBezTo>
                  <a:cubicBezTo>
                    <a:pt x="50" y="101"/>
                    <a:pt x="50" y="101"/>
                    <a:pt x="49" y="101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37" y="101"/>
                    <a:pt x="31" y="101"/>
                    <a:pt x="25" y="101"/>
                  </a:cubicBezTo>
                  <a:cubicBezTo>
                    <a:pt x="23" y="101"/>
                    <a:pt x="22" y="101"/>
                    <a:pt x="20" y="100"/>
                  </a:cubicBezTo>
                  <a:cubicBezTo>
                    <a:pt x="19" y="98"/>
                    <a:pt x="19" y="97"/>
                    <a:pt x="19" y="95"/>
                  </a:cubicBezTo>
                  <a:cubicBezTo>
                    <a:pt x="19" y="88"/>
                    <a:pt x="19" y="81"/>
                    <a:pt x="19" y="75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9" y="70"/>
                    <a:pt x="18" y="70"/>
                    <a:pt x="18" y="70"/>
                  </a:cubicBezTo>
                  <a:cubicBezTo>
                    <a:pt x="17" y="70"/>
                    <a:pt x="17" y="71"/>
                    <a:pt x="16" y="71"/>
                  </a:cubicBezTo>
                  <a:cubicBezTo>
                    <a:pt x="16" y="72"/>
                    <a:pt x="15" y="72"/>
                    <a:pt x="15" y="72"/>
                  </a:cubicBezTo>
                  <a:cubicBezTo>
                    <a:pt x="12" y="74"/>
                    <a:pt x="10" y="74"/>
                    <a:pt x="7" y="74"/>
                  </a:cubicBezTo>
                  <a:cubicBezTo>
                    <a:pt x="5" y="73"/>
                    <a:pt x="3" y="71"/>
                    <a:pt x="2" y="68"/>
                  </a:cubicBezTo>
                  <a:cubicBezTo>
                    <a:pt x="0" y="63"/>
                    <a:pt x="0" y="57"/>
                    <a:pt x="2" y="52"/>
                  </a:cubicBezTo>
                  <a:cubicBezTo>
                    <a:pt x="3" y="49"/>
                    <a:pt x="5" y="47"/>
                    <a:pt x="7" y="47"/>
                  </a:cubicBezTo>
                  <a:cubicBezTo>
                    <a:pt x="10" y="46"/>
                    <a:pt x="13" y="46"/>
                    <a:pt x="15" y="48"/>
                  </a:cubicBezTo>
                  <a:cubicBezTo>
                    <a:pt x="16" y="49"/>
                    <a:pt x="18" y="50"/>
                    <a:pt x="19" y="50"/>
                  </a:cubicBezTo>
                  <a:cubicBezTo>
                    <a:pt x="19" y="47"/>
                    <a:pt x="19" y="44"/>
                    <a:pt x="19" y="41"/>
                  </a:cubicBezTo>
                  <a:cubicBezTo>
                    <a:pt x="19" y="40"/>
                    <a:pt x="19" y="38"/>
                    <a:pt x="19" y="37"/>
                  </a:cubicBezTo>
                  <a:cubicBezTo>
                    <a:pt x="19" y="36"/>
                    <a:pt x="19" y="35"/>
                    <a:pt x="19" y="33"/>
                  </a:cubicBezTo>
                  <a:cubicBezTo>
                    <a:pt x="19" y="30"/>
                    <a:pt x="19" y="27"/>
                    <a:pt x="19" y="24"/>
                  </a:cubicBezTo>
                  <a:cubicBezTo>
                    <a:pt x="19" y="24"/>
                    <a:pt x="19" y="22"/>
                    <a:pt x="20" y="20"/>
                  </a:cubicBezTo>
                  <a:cubicBezTo>
                    <a:pt x="21" y="19"/>
                    <a:pt x="23" y="19"/>
                    <a:pt x="24" y="19"/>
                  </a:cubicBezTo>
                  <a:cubicBezTo>
                    <a:pt x="32" y="19"/>
                    <a:pt x="40" y="19"/>
                    <a:pt x="49" y="19"/>
                  </a:cubicBezTo>
                  <a:cubicBezTo>
                    <a:pt x="49" y="19"/>
                    <a:pt x="49" y="19"/>
                    <a:pt x="50" y="19"/>
                  </a:cubicBezTo>
                  <a:cubicBezTo>
                    <a:pt x="50" y="18"/>
                    <a:pt x="50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6" y="12"/>
                    <a:pt x="46" y="9"/>
                    <a:pt x="46" y="7"/>
                  </a:cubicBezTo>
                  <a:cubicBezTo>
                    <a:pt x="47" y="5"/>
                    <a:pt x="49" y="3"/>
                    <a:pt x="53" y="1"/>
                  </a:cubicBezTo>
                  <a:cubicBezTo>
                    <a:pt x="59" y="0"/>
                    <a:pt x="64" y="0"/>
                    <a:pt x="68" y="2"/>
                  </a:cubicBezTo>
                  <a:cubicBezTo>
                    <a:pt x="72" y="3"/>
                    <a:pt x="73" y="6"/>
                    <a:pt x="74" y="7"/>
                  </a:cubicBezTo>
                  <a:cubicBezTo>
                    <a:pt x="74" y="9"/>
                    <a:pt x="74" y="12"/>
                    <a:pt x="72" y="15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6"/>
                    <a:pt x="70" y="17"/>
                    <a:pt x="70" y="18"/>
                  </a:cubicBezTo>
                  <a:cubicBezTo>
                    <a:pt x="70" y="18"/>
                    <a:pt x="70" y="19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19"/>
                    <a:pt x="81" y="19"/>
                    <a:pt x="87" y="19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100" y="19"/>
                    <a:pt x="101" y="20"/>
                    <a:pt x="101" y="26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8"/>
                    <a:pt x="101" y="43"/>
                    <a:pt x="101" y="49"/>
                  </a:cubicBezTo>
                  <a:cubicBezTo>
                    <a:pt x="101" y="49"/>
                    <a:pt x="101" y="49"/>
                    <a:pt x="101" y="50"/>
                  </a:cubicBezTo>
                  <a:cubicBezTo>
                    <a:pt x="102" y="50"/>
                    <a:pt x="103" y="49"/>
                    <a:pt x="103" y="49"/>
                  </a:cubicBezTo>
                  <a:cubicBezTo>
                    <a:pt x="103" y="49"/>
                    <a:pt x="103" y="49"/>
                    <a:pt x="104" y="49"/>
                  </a:cubicBezTo>
                  <a:cubicBezTo>
                    <a:pt x="104" y="49"/>
                    <a:pt x="104" y="49"/>
                    <a:pt x="104" y="48"/>
                  </a:cubicBezTo>
                  <a:cubicBezTo>
                    <a:pt x="107" y="46"/>
                    <a:pt x="111" y="46"/>
                    <a:pt x="113" y="47"/>
                  </a:cubicBezTo>
                  <a:cubicBezTo>
                    <a:pt x="116" y="48"/>
                    <a:pt x="118" y="50"/>
                    <a:pt x="118" y="53"/>
                  </a:cubicBezTo>
                  <a:cubicBezTo>
                    <a:pt x="119" y="58"/>
                    <a:pt x="119" y="62"/>
                    <a:pt x="118" y="66"/>
                  </a:cubicBezTo>
                  <a:cubicBezTo>
                    <a:pt x="118" y="70"/>
                    <a:pt x="116" y="72"/>
                    <a:pt x="113" y="73"/>
                  </a:cubicBezTo>
                  <a:cubicBezTo>
                    <a:pt x="111" y="74"/>
                    <a:pt x="107" y="74"/>
                    <a:pt x="104" y="72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4" y="71"/>
                    <a:pt x="103" y="71"/>
                    <a:pt x="103" y="71"/>
                  </a:cubicBezTo>
                  <a:cubicBezTo>
                    <a:pt x="103" y="70"/>
                    <a:pt x="103" y="70"/>
                    <a:pt x="103" y="70"/>
                  </a:cubicBezTo>
                  <a:cubicBezTo>
                    <a:pt x="102" y="70"/>
                    <a:pt x="102" y="70"/>
                    <a:pt x="101" y="70"/>
                  </a:cubicBezTo>
                  <a:cubicBezTo>
                    <a:pt x="101" y="70"/>
                    <a:pt x="101" y="71"/>
                    <a:pt x="101" y="71"/>
                  </a:cubicBezTo>
                  <a:cubicBezTo>
                    <a:pt x="101" y="76"/>
                    <a:pt x="101" y="82"/>
                    <a:pt x="101" y="87"/>
                  </a:cubicBezTo>
                  <a:cubicBezTo>
                    <a:pt x="101" y="90"/>
                    <a:pt x="101" y="92"/>
                    <a:pt x="101" y="95"/>
                  </a:cubicBezTo>
                  <a:cubicBezTo>
                    <a:pt x="101" y="100"/>
                    <a:pt x="100" y="101"/>
                    <a:pt x="95" y="101"/>
                  </a:cubicBezTo>
                  <a:cubicBezTo>
                    <a:pt x="91" y="101"/>
                    <a:pt x="88" y="101"/>
                    <a:pt x="85" y="101"/>
                  </a:cubicBezTo>
                  <a:cubicBezTo>
                    <a:pt x="80" y="101"/>
                    <a:pt x="75" y="101"/>
                    <a:pt x="71" y="101"/>
                  </a:cubicBezTo>
                  <a:cubicBezTo>
                    <a:pt x="70" y="101"/>
                    <a:pt x="70" y="101"/>
                    <a:pt x="70" y="101"/>
                  </a:cubicBezTo>
                  <a:cubicBezTo>
                    <a:pt x="70" y="102"/>
                    <a:pt x="70" y="102"/>
                    <a:pt x="70" y="103"/>
                  </a:cubicBezTo>
                  <a:cubicBezTo>
                    <a:pt x="70" y="103"/>
                    <a:pt x="71" y="104"/>
                    <a:pt x="71" y="104"/>
                  </a:cubicBezTo>
                  <a:cubicBezTo>
                    <a:pt x="71" y="104"/>
                    <a:pt x="72" y="104"/>
                    <a:pt x="72" y="105"/>
                  </a:cubicBezTo>
                  <a:cubicBezTo>
                    <a:pt x="74" y="107"/>
                    <a:pt x="74" y="110"/>
                    <a:pt x="73" y="113"/>
                  </a:cubicBezTo>
                  <a:cubicBezTo>
                    <a:pt x="73" y="116"/>
                    <a:pt x="70" y="118"/>
                    <a:pt x="67" y="118"/>
                  </a:cubicBezTo>
                  <a:cubicBezTo>
                    <a:pt x="65" y="119"/>
                    <a:pt x="62" y="120"/>
                    <a:pt x="60" y="120"/>
                  </a:cubicBezTo>
                  <a:close/>
                  <a:moveTo>
                    <a:pt x="36" y="96"/>
                  </a:moveTo>
                  <a:cubicBezTo>
                    <a:pt x="38" y="96"/>
                    <a:pt x="41" y="96"/>
                    <a:pt x="44" y="96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52" y="96"/>
                    <a:pt x="54" y="97"/>
                    <a:pt x="55" y="99"/>
                  </a:cubicBezTo>
                  <a:cubicBezTo>
                    <a:pt x="56" y="100"/>
                    <a:pt x="56" y="102"/>
                    <a:pt x="55" y="105"/>
                  </a:cubicBezTo>
                  <a:cubicBezTo>
                    <a:pt x="54" y="106"/>
                    <a:pt x="54" y="107"/>
                    <a:pt x="53" y="107"/>
                  </a:cubicBezTo>
                  <a:cubicBezTo>
                    <a:pt x="53" y="108"/>
                    <a:pt x="53" y="108"/>
                    <a:pt x="52" y="108"/>
                  </a:cubicBezTo>
                  <a:cubicBezTo>
                    <a:pt x="52" y="109"/>
                    <a:pt x="51" y="110"/>
                    <a:pt x="52" y="111"/>
                  </a:cubicBezTo>
                  <a:cubicBezTo>
                    <a:pt x="52" y="112"/>
                    <a:pt x="53" y="113"/>
                    <a:pt x="54" y="113"/>
                  </a:cubicBezTo>
                  <a:cubicBezTo>
                    <a:pt x="58" y="115"/>
                    <a:pt x="62" y="115"/>
                    <a:pt x="66" y="113"/>
                  </a:cubicBezTo>
                  <a:cubicBezTo>
                    <a:pt x="67" y="113"/>
                    <a:pt x="68" y="112"/>
                    <a:pt x="68" y="111"/>
                  </a:cubicBezTo>
                  <a:cubicBezTo>
                    <a:pt x="69" y="110"/>
                    <a:pt x="68" y="109"/>
                    <a:pt x="67" y="108"/>
                  </a:cubicBezTo>
                  <a:cubicBezTo>
                    <a:pt x="67" y="108"/>
                    <a:pt x="67" y="108"/>
                    <a:pt x="67" y="107"/>
                  </a:cubicBezTo>
                  <a:cubicBezTo>
                    <a:pt x="67" y="107"/>
                    <a:pt x="66" y="106"/>
                    <a:pt x="66" y="105"/>
                  </a:cubicBezTo>
                  <a:cubicBezTo>
                    <a:pt x="64" y="103"/>
                    <a:pt x="64" y="100"/>
                    <a:pt x="65" y="99"/>
                  </a:cubicBezTo>
                  <a:cubicBezTo>
                    <a:pt x="66" y="97"/>
                    <a:pt x="67" y="96"/>
                    <a:pt x="71" y="96"/>
                  </a:cubicBezTo>
                  <a:cubicBezTo>
                    <a:pt x="75" y="96"/>
                    <a:pt x="80" y="96"/>
                    <a:pt x="85" y="96"/>
                  </a:cubicBezTo>
                  <a:cubicBezTo>
                    <a:pt x="88" y="96"/>
                    <a:pt x="91" y="96"/>
                    <a:pt x="95" y="96"/>
                  </a:cubicBezTo>
                  <a:cubicBezTo>
                    <a:pt x="95" y="96"/>
                    <a:pt x="95" y="96"/>
                    <a:pt x="96" y="96"/>
                  </a:cubicBezTo>
                  <a:cubicBezTo>
                    <a:pt x="96" y="95"/>
                    <a:pt x="96" y="95"/>
                    <a:pt x="96" y="95"/>
                  </a:cubicBezTo>
                  <a:cubicBezTo>
                    <a:pt x="96" y="92"/>
                    <a:pt x="96" y="90"/>
                    <a:pt x="96" y="87"/>
                  </a:cubicBezTo>
                  <a:cubicBezTo>
                    <a:pt x="96" y="82"/>
                    <a:pt x="96" y="76"/>
                    <a:pt x="96" y="71"/>
                  </a:cubicBezTo>
                  <a:cubicBezTo>
                    <a:pt x="96" y="70"/>
                    <a:pt x="96" y="66"/>
                    <a:pt x="99" y="65"/>
                  </a:cubicBezTo>
                  <a:cubicBezTo>
                    <a:pt x="101" y="64"/>
                    <a:pt x="103" y="65"/>
                    <a:pt x="104" y="65"/>
                  </a:cubicBezTo>
                  <a:cubicBezTo>
                    <a:pt x="105" y="65"/>
                    <a:pt x="105" y="65"/>
                    <a:pt x="105" y="65"/>
                  </a:cubicBezTo>
                  <a:cubicBezTo>
                    <a:pt x="106" y="66"/>
                    <a:pt x="107" y="66"/>
                    <a:pt x="107" y="67"/>
                  </a:cubicBezTo>
                  <a:cubicBezTo>
                    <a:pt x="107" y="67"/>
                    <a:pt x="108" y="67"/>
                    <a:pt x="108" y="67"/>
                  </a:cubicBezTo>
                  <a:cubicBezTo>
                    <a:pt x="109" y="68"/>
                    <a:pt x="110" y="69"/>
                    <a:pt x="111" y="68"/>
                  </a:cubicBezTo>
                  <a:cubicBezTo>
                    <a:pt x="112" y="68"/>
                    <a:pt x="113" y="67"/>
                    <a:pt x="113" y="66"/>
                  </a:cubicBezTo>
                  <a:cubicBezTo>
                    <a:pt x="114" y="62"/>
                    <a:pt x="114" y="58"/>
                    <a:pt x="113" y="54"/>
                  </a:cubicBezTo>
                  <a:cubicBezTo>
                    <a:pt x="113" y="53"/>
                    <a:pt x="113" y="52"/>
                    <a:pt x="111" y="52"/>
                  </a:cubicBezTo>
                  <a:cubicBezTo>
                    <a:pt x="110" y="51"/>
                    <a:pt x="109" y="52"/>
                    <a:pt x="108" y="53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3"/>
                    <a:pt x="106" y="54"/>
                    <a:pt x="105" y="54"/>
                  </a:cubicBezTo>
                  <a:cubicBezTo>
                    <a:pt x="103" y="55"/>
                    <a:pt x="101" y="55"/>
                    <a:pt x="99" y="55"/>
                  </a:cubicBezTo>
                  <a:cubicBezTo>
                    <a:pt x="96" y="54"/>
                    <a:pt x="96" y="50"/>
                    <a:pt x="96" y="49"/>
                  </a:cubicBezTo>
                  <a:cubicBezTo>
                    <a:pt x="96" y="43"/>
                    <a:pt x="96" y="38"/>
                    <a:pt x="96" y="32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96" y="26"/>
                    <a:pt x="96" y="25"/>
                    <a:pt x="96" y="24"/>
                  </a:cubicBezTo>
                  <a:cubicBezTo>
                    <a:pt x="95" y="24"/>
                    <a:pt x="94" y="24"/>
                    <a:pt x="94" y="24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81" y="24"/>
                    <a:pt x="76" y="24"/>
                    <a:pt x="70" y="24"/>
                  </a:cubicBezTo>
                  <a:cubicBezTo>
                    <a:pt x="67" y="24"/>
                    <a:pt x="66" y="23"/>
                    <a:pt x="65" y="22"/>
                  </a:cubicBezTo>
                  <a:cubicBezTo>
                    <a:pt x="64" y="21"/>
                    <a:pt x="64" y="19"/>
                    <a:pt x="65" y="16"/>
                  </a:cubicBezTo>
                  <a:cubicBezTo>
                    <a:pt x="65" y="15"/>
                    <a:pt x="66" y="14"/>
                    <a:pt x="67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1"/>
                    <a:pt x="69" y="10"/>
                    <a:pt x="68" y="9"/>
                  </a:cubicBezTo>
                  <a:cubicBezTo>
                    <a:pt x="68" y="8"/>
                    <a:pt x="67" y="7"/>
                    <a:pt x="66" y="7"/>
                  </a:cubicBezTo>
                  <a:cubicBezTo>
                    <a:pt x="63" y="5"/>
                    <a:pt x="59" y="5"/>
                    <a:pt x="55" y="7"/>
                  </a:cubicBezTo>
                  <a:cubicBezTo>
                    <a:pt x="53" y="7"/>
                    <a:pt x="52" y="8"/>
                    <a:pt x="52" y="9"/>
                  </a:cubicBezTo>
                  <a:cubicBezTo>
                    <a:pt x="51" y="10"/>
                    <a:pt x="52" y="11"/>
                    <a:pt x="53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4" y="13"/>
                    <a:pt x="54" y="14"/>
                    <a:pt x="55" y="15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7"/>
                    <a:pt x="55" y="19"/>
                    <a:pt x="55" y="21"/>
                  </a:cubicBezTo>
                  <a:cubicBezTo>
                    <a:pt x="54" y="23"/>
                    <a:pt x="51" y="24"/>
                    <a:pt x="49" y="24"/>
                  </a:cubicBezTo>
                  <a:cubicBezTo>
                    <a:pt x="40" y="24"/>
                    <a:pt x="32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7"/>
                    <a:pt x="24" y="30"/>
                    <a:pt x="24" y="33"/>
                  </a:cubicBezTo>
                  <a:cubicBezTo>
                    <a:pt x="24" y="35"/>
                    <a:pt x="24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8"/>
                    <a:pt x="24" y="40"/>
                    <a:pt x="24" y="41"/>
                  </a:cubicBezTo>
                  <a:cubicBezTo>
                    <a:pt x="24" y="44"/>
                    <a:pt x="24" y="47"/>
                    <a:pt x="24" y="50"/>
                  </a:cubicBezTo>
                  <a:cubicBezTo>
                    <a:pt x="24" y="53"/>
                    <a:pt x="23" y="54"/>
                    <a:pt x="22" y="55"/>
                  </a:cubicBezTo>
                  <a:cubicBezTo>
                    <a:pt x="21" y="56"/>
                    <a:pt x="20" y="56"/>
                    <a:pt x="18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1" y="52"/>
                    <a:pt x="10" y="51"/>
                    <a:pt x="9" y="52"/>
                  </a:cubicBezTo>
                  <a:cubicBezTo>
                    <a:pt x="8" y="52"/>
                    <a:pt x="7" y="53"/>
                    <a:pt x="7" y="54"/>
                  </a:cubicBezTo>
                  <a:cubicBezTo>
                    <a:pt x="6" y="58"/>
                    <a:pt x="6" y="62"/>
                    <a:pt x="7" y="66"/>
                  </a:cubicBezTo>
                  <a:cubicBezTo>
                    <a:pt x="7" y="67"/>
                    <a:pt x="8" y="68"/>
                    <a:pt x="9" y="68"/>
                  </a:cubicBezTo>
                  <a:cubicBezTo>
                    <a:pt x="10" y="69"/>
                    <a:pt x="11" y="69"/>
                    <a:pt x="12" y="68"/>
                  </a:cubicBezTo>
                  <a:cubicBezTo>
                    <a:pt x="12" y="68"/>
                    <a:pt x="13" y="67"/>
                    <a:pt x="13" y="67"/>
                  </a:cubicBezTo>
                  <a:cubicBezTo>
                    <a:pt x="14" y="66"/>
                    <a:pt x="15" y="66"/>
                    <a:pt x="16" y="65"/>
                  </a:cubicBezTo>
                  <a:cubicBezTo>
                    <a:pt x="18" y="64"/>
                    <a:pt x="20" y="64"/>
                    <a:pt x="22" y="65"/>
                  </a:cubicBezTo>
                  <a:cubicBezTo>
                    <a:pt x="23" y="66"/>
                    <a:pt x="24" y="68"/>
                    <a:pt x="24" y="70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81"/>
                    <a:pt x="24" y="88"/>
                    <a:pt x="24" y="95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24" y="96"/>
                    <a:pt x="24" y="96"/>
                    <a:pt x="25" y="96"/>
                  </a:cubicBezTo>
                  <a:cubicBezTo>
                    <a:pt x="28" y="96"/>
                    <a:pt x="32" y="96"/>
                    <a:pt x="36" y="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 dirty="0"/>
            </a:p>
          </p:txBody>
        </p:sp>
        <p:sp>
          <p:nvSpPr>
            <p:cNvPr id="49" name="Freeform 67">
              <a:extLst>
                <a:ext uri="{FF2B5EF4-FFF2-40B4-BE49-F238E27FC236}">
                  <a16:creationId xmlns:a16="http://schemas.microsoft.com/office/drawing/2014/main" id="{2EDCCCE7-4BC0-4538-B09B-A6D44708BD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6450" y="4618038"/>
              <a:ext cx="590550" cy="592138"/>
            </a:xfrm>
            <a:custGeom>
              <a:avLst/>
              <a:gdLst/>
              <a:ahLst/>
              <a:cxnLst>
                <a:cxn ang="0">
                  <a:pos x="27" y="94"/>
                </a:cxn>
                <a:cxn ang="0">
                  <a:pos x="30" y="84"/>
                </a:cxn>
                <a:cxn ang="0">
                  <a:pos x="24" y="82"/>
                </a:cxn>
                <a:cxn ang="0">
                  <a:pos x="0" y="76"/>
                </a:cxn>
                <a:cxn ang="0">
                  <a:pos x="2" y="46"/>
                </a:cxn>
                <a:cxn ang="0">
                  <a:pos x="12" y="49"/>
                </a:cxn>
                <a:cxn ang="0">
                  <a:pos x="17" y="35"/>
                </a:cxn>
                <a:cxn ang="0">
                  <a:pos x="11" y="34"/>
                </a:cxn>
                <a:cxn ang="0">
                  <a:pos x="0" y="30"/>
                </a:cxn>
                <a:cxn ang="0">
                  <a:pos x="1" y="2"/>
                </a:cxn>
                <a:cxn ang="0">
                  <a:pos x="30" y="0"/>
                </a:cxn>
                <a:cxn ang="0">
                  <a:pos x="34" y="11"/>
                </a:cxn>
                <a:cxn ang="0">
                  <a:pos x="35" y="18"/>
                </a:cxn>
                <a:cxn ang="0">
                  <a:pos x="48" y="12"/>
                </a:cxn>
                <a:cxn ang="0">
                  <a:pos x="46" y="3"/>
                </a:cxn>
                <a:cxn ang="0">
                  <a:pos x="64" y="0"/>
                </a:cxn>
                <a:cxn ang="0">
                  <a:pos x="80" y="1"/>
                </a:cxn>
                <a:cxn ang="0">
                  <a:pos x="82" y="30"/>
                </a:cxn>
                <a:cxn ang="0">
                  <a:pos x="85" y="30"/>
                </a:cxn>
                <a:cxn ang="0">
                  <a:pos x="99" y="33"/>
                </a:cxn>
                <a:cxn ang="0">
                  <a:pos x="86" y="54"/>
                </a:cxn>
                <a:cxn ang="0">
                  <a:pos x="82" y="51"/>
                </a:cxn>
                <a:cxn ang="0">
                  <a:pos x="82" y="76"/>
                </a:cxn>
                <a:cxn ang="0">
                  <a:pos x="56" y="82"/>
                </a:cxn>
                <a:cxn ang="0">
                  <a:pos x="51" y="84"/>
                </a:cxn>
                <a:cxn ang="0">
                  <a:pos x="54" y="94"/>
                </a:cxn>
                <a:cxn ang="0">
                  <a:pos x="16" y="77"/>
                </a:cxn>
                <a:cxn ang="0">
                  <a:pos x="36" y="80"/>
                </a:cxn>
                <a:cxn ang="0">
                  <a:pos x="33" y="90"/>
                </a:cxn>
                <a:cxn ang="0">
                  <a:pos x="47" y="94"/>
                </a:cxn>
                <a:cxn ang="0">
                  <a:pos x="48" y="89"/>
                </a:cxn>
                <a:cxn ang="0">
                  <a:pos x="51" y="77"/>
                </a:cxn>
                <a:cxn ang="0">
                  <a:pos x="77" y="77"/>
                </a:cxn>
                <a:cxn ang="0">
                  <a:pos x="77" y="52"/>
                </a:cxn>
                <a:cxn ang="0">
                  <a:pos x="88" y="48"/>
                </a:cxn>
                <a:cxn ang="0">
                  <a:pos x="94" y="48"/>
                </a:cxn>
                <a:cxn ang="0">
                  <a:pos x="89" y="33"/>
                </a:cxn>
                <a:cxn ang="0">
                  <a:pos x="79" y="36"/>
                </a:cxn>
                <a:cxn ang="0">
                  <a:pos x="77" y="6"/>
                </a:cxn>
                <a:cxn ang="0">
                  <a:pos x="67" y="5"/>
                </a:cxn>
                <a:cxn ang="0">
                  <a:pos x="52" y="5"/>
                </a:cxn>
                <a:cxn ang="0">
                  <a:pos x="52" y="8"/>
                </a:cxn>
                <a:cxn ang="0">
                  <a:pos x="47" y="23"/>
                </a:cxn>
                <a:cxn ang="0">
                  <a:pos x="29" y="9"/>
                </a:cxn>
                <a:cxn ang="0">
                  <a:pos x="31" y="6"/>
                </a:cxn>
                <a:cxn ang="0">
                  <a:pos x="6" y="5"/>
                </a:cxn>
                <a:cxn ang="0">
                  <a:pos x="5" y="19"/>
                </a:cxn>
                <a:cxn ang="0">
                  <a:pos x="7" y="31"/>
                </a:cxn>
                <a:cxn ang="0">
                  <a:pos x="17" y="28"/>
                </a:cxn>
                <a:cxn ang="0">
                  <a:pos x="17" y="55"/>
                </a:cxn>
                <a:cxn ang="0">
                  <a:pos x="6" y="51"/>
                </a:cxn>
                <a:cxn ang="0">
                  <a:pos x="5" y="60"/>
                </a:cxn>
                <a:cxn ang="0">
                  <a:pos x="6" y="77"/>
                </a:cxn>
              </a:cxnLst>
              <a:rect l="0" t="0" r="r" b="b"/>
              <a:pathLst>
                <a:path w="101" h="101">
                  <a:moveTo>
                    <a:pt x="41" y="101"/>
                  </a:moveTo>
                  <a:cubicBezTo>
                    <a:pt x="38" y="101"/>
                    <a:pt x="35" y="100"/>
                    <a:pt x="32" y="99"/>
                  </a:cubicBezTo>
                  <a:cubicBezTo>
                    <a:pt x="30" y="98"/>
                    <a:pt x="28" y="96"/>
                    <a:pt x="27" y="94"/>
                  </a:cubicBezTo>
                  <a:cubicBezTo>
                    <a:pt x="26" y="92"/>
                    <a:pt x="27" y="89"/>
                    <a:pt x="28" y="87"/>
                  </a:cubicBezTo>
                  <a:cubicBezTo>
                    <a:pt x="29" y="86"/>
                    <a:pt x="29" y="86"/>
                    <a:pt x="30" y="85"/>
                  </a:cubicBezTo>
                  <a:cubicBezTo>
                    <a:pt x="30" y="85"/>
                    <a:pt x="30" y="85"/>
                    <a:pt x="30" y="84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0" y="82"/>
                    <a:pt x="29" y="82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18" y="82"/>
                    <a:pt x="12" y="82"/>
                    <a:pt x="6" y="82"/>
                  </a:cubicBezTo>
                  <a:cubicBezTo>
                    <a:pt x="5" y="83"/>
                    <a:pt x="3" y="82"/>
                    <a:pt x="1" y="81"/>
                  </a:cubicBezTo>
                  <a:cubicBezTo>
                    <a:pt x="0" y="79"/>
                    <a:pt x="0" y="77"/>
                    <a:pt x="0" y="76"/>
                  </a:cubicBezTo>
                  <a:cubicBezTo>
                    <a:pt x="0" y="71"/>
                    <a:pt x="0" y="65"/>
                    <a:pt x="0" y="60"/>
                  </a:cubicBezTo>
                  <a:cubicBezTo>
                    <a:pt x="0" y="58"/>
                    <a:pt x="0" y="55"/>
                    <a:pt x="0" y="52"/>
                  </a:cubicBezTo>
                  <a:cubicBezTo>
                    <a:pt x="0" y="49"/>
                    <a:pt x="0" y="47"/>
                    <a:pt x="2" y="46"/>
                  </a:cubicBezTo>
                  <a:cubicBezTo>
                    <a:pt x="4" y="45"/>
                    <a:pt x="6" y="45"/>
                    <a:pt x="8" y="46"/>
                  </a:cubicBezTo>
                  <a:cubicBezTo>
                    <a:pt x="9" y="47"/>
                    <a:pt x="10" y="48"/>
                    <a:pt x="11" y="48"/>
                  </a:cubicBezTo>
                  <a:cubicBezTo>
                    <a:pt x="11" y="48"/>
                    <a:pt x="12" y="49"/>
                    <a:pt x="12" y="49"/>
                  </a:cubicBezTo>
                  <a:cubicBezTo>
                    <a:pt x="13" y="50"/>
                    <a:pt x="14" y="50"/>
                    <a:pt x="15" y="50"/>
                  </a:cubicBezTo>
                  <a:cubicBezTo>
                    <a:pt x="16" y="49"/>
                    <a:pt x="17" y="49"/>
                    <a:pt x="17" y="47"/>
                  </a:cubicBezTo>
                  <a:cubicBezTo>
                    <a:pt x="18" y="43"/>
                    <a:pt x="18" y="39"/>
                    <a:pt x="17" y="35"/>
                  </a:cubicBezTo>
                  <a:cubicBezTo>
                    <a:pt x="17" y="34"/>
                    <a:pt x="16" y="33"/>
                    <a:pt x="15" y="33"/>
                  </a:cubicBezTo>
                  <a:cubicBezTo>
                    <a:pt x="14" y="32"/>
                    <a:pt x="13" y="33"/>
                    <a:pt x="12" y="34"/>
                  </a:cubicBezTo>
                  <a:cubicBezTo>
                    <a:pt x="12" y="34"/>
                    <a:pt x="12" y="34"/>
                    <a:pt x="11" y="34"/>
                  </a:cubicBezTo>
                  <a:cubicBezTo>
                    <a:pt x="11" y="35"/>
                    <a:pt x="10" y="35"/>
                    <a:pt x="9" y="36"/>
                  </a:cubicBezTo>
                  <a:cubicBezTo>
                    <a:pt x="7" y="36"/>
                    <a:pt x="5" y="37"/>
                    <a:pt x="3" y="36"/>
                  </a:cubicBezTo>
                  <a:cubicBezTo>
                    <a:pt x="0" y="35"/>
                    <a:pt x="0" y="31"/>
                    <a:pt x="0" y="30"/>
                  </a:cubicBezTo>
                  <a:cubicBezTo>
                    <a:pt x="0" y="26"/>
                    <a:pt x="0" y="22"/>
                    <a:pt x="0" y="19"/>
                  </a:cubicBezTo>
                  <a:cubicBezTo>
                    <a:pt x="0" y="15"/>
                    <a:pt x="0" y="10"/>
                    <a:pt x="0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6" y="0"/>
                  </a:cubicBezTo>
                  <a:cubicBezTo>
                    <a:pt x="11" y="0"/>
                    <a:pt x="17" y="0"/>
                    <a:pt x="22" y="0"/>
                  </a:cubicBezTo>
                  <a:cubicBezTo>
                    <a:pt x="25" y="0"/>
                    <a:pt x="27" y="0"/>
                    <a:pt x="30" y="0"/>
                  </a:cubicBezTo>
                  <a:cubicBezTo>
                    <a:pt x="33" y="0"/>
                    <a:pt x="35" y="2"/>
                    <a:pt x="36" y="3"/>
                  </a:cubicBezTo>
                  <a:cubicBezTo>
                    <a:pt x="36" y="4"/>
                    <a:pt x="37" y="6"/>
                    <a:pt x="35" y="10"/>
                  </a:cubicBezTo>
                  <a:cubicBezTo>
                    <a:pt x="35" y="10"/>
                    <a:pt x="34" y="11"/>
                    <a:pt x="34" y="11"/>
                  </a:cubicBezTo>
                  <a:cubicBezTo>
                    <a:pt x="34" y="11"/>
                    <a:pt x="34" y="12"/>
                    <a:pt x="33" y="12"/>
                  </a:cubicBezTo>
                  <a:cubicBezTo>
                    <a:pt x="32" y="13"/>
                    <a:pt x="32" y="15"/>
                    <a:pt x="32" y="16"/>
                  </a:cubicBezTo>
                  <a:cubicBezTo>
                    <a:pt x="33" y="17"/>
                    <a:pt x="34" y="17"/>
                    <a:pt x="35" y="18"/>
                  </a:cubicBezTo>
                  <a:cubicBezTo>
                    <a:pt x="39" y="18"/>
                    <a:pt x="43" y="18"/>
                    <a:pt x="46" y="18"/>
                  </a:cubicBezTo>
                  <a:cubicBezTo>
                    <a:pt x="48" y="17"/>
                    <a:pt x="49" y="17"/>
                    <a:pt x="49" y="16"/>
                  </a:cubicBezTo>
                  <a:cubicBezTo>
                    <a:pt x="49" y="15"/>
                    <a:pt x="49" y="13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7" y="11"/>
                    <a:pt x="47" y="10"/>
                    <a:pt x="46" y="9"/>
                  </a:cubicBezTo>
                  <a:cubicBezTo>
                    <a:pt x="45" y="7"/>
                    <a:pt x="45" y="4"/>
                    <a:pt x="46" y="3"/>
                  </a:cubicBezTo>
                  <a:cubicBezTo>
                    <a:pt x="47" y="1"/>
                    <a:pt x="49" y="0"/>
                    <a:pt x="52" y="0"/>
                  </a:cubicBezTo>
                  <a:cubicBezTo>
                    <a:pt x="54" y="0"/>
                    <a:pt x="57" y="0"/>
                    <a:pt x="60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5" y="0"/>
                    <a:pt x="66" y="0"/>
                    <a:pt x="67" y="0"/>
                  </a:cubicBezTo>
                  <a:cubicBezTo>
                    <a:pt x="70" y="0"/>
                    <a:pt x="73" y="0"/>
                    <a:pt x="75" y="0"/>
                  </a:cubicBezTo>
                  <a:cubicBezTo>
                    <a:pt x="78" y="0"/>
                    <a:pt x="79" y="0"/>
                    <a:pt x="80" y="1"/>
                  </a:cubicBezTo>
                  <a:cubicBezTo>
                    <a:pt x="82" y="3"/>
                    <a:pt x="82" y="5"/>
                    <a:pt x="82" y="7"/>
                  </a:cubicBezTo>
                  <a:cubicBezTo>
                    <a:pt x="82" y="13"/>
                    <a:pt x="82" y="19"/>
                    <a:pt x="82" y="25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1"/>
                    <a:pt x="82" y="31"/>
                    <a:pt x="82" y="32"/>
                  </a:cubicBezTo>
                  <a:cubicBezTo>
                    <a:pt x="82" y="32"/>
                    <a:pt x="83" y="31"/>
                    <a:pt x="84" y="31"/>
                  </a:cubicBezTo>
                  <a:cubicBezTo>
                    <a:pt x="84" y="31"/>
                    <a:pt x="84" y="30"/>
                    <a:pt x="85" y="30"/>
                  </a:cubicBezTo>
                  <a:cubicBezTo>
                    <a:pt x="85" y="30"/>
                    <a:pt x="86" y="29"/>
                    <a:pt x="86" y="29"/>
                  </a:cubicBezTo>
                  <a:cubicBezTo>
                    <a:pt x="89" y="27"/>
                    <a:pt x="91" y="27"/>
                    <a:pt x="94" y="28"/>
                  </a:cubicBezTo>
                  <a:cubicBezTo>
                    <a:pt x="96" y="28"/>
                    <a:pt x="98" y="30"/>
                    <a:pt x="99" y="33"/>
                  </a:cubicBezTo>
                  <a:cubicBezTo>
                    <a:pt x="101" y="38"/>
                    <a:pt x="101" y="44"/>
                    <a:pt x="99" y="49"/>
                  </a:cubicBezTo>
                  <a:cubicBezTo>
                    <a:pt x="98" y="52"/>
                    <a:pt x="96" y="54"/>
                    <a:pt x="94" y="55"/>
                  </a:cubicBezTo>
                  <a:cubicBezTo>
                    <a:pt x="91" y="56"/>
                    <a:pt x="89" y="55"/>
                    <a:pt x="86" y="54"/>
                  </a:cubicBezTo>
                  <a:cubicBezTo>
                    <a:pt x="86" y="53"/>
                    <a:pt x="85" y="53"/>
                    <a:pt x="85" y="53"/>
                  </a:cubicBezTo>
                  <a:cubicBezTo>
                    <a:pt x="84" y="52"/>
                    <a:pt x="83" y="51"/>
                    <a:pt x="83" y="51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2" y="51"/>
                    <a:pt x="82" y="51"/>
                    <a:pt x="82" y="52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2" y="62"/>
                    <a:pt x="82" y="69"/>
                    <a:pt x="82" y="76"/>
                  </a:cubicBezTo>
                  <a:cubicBezTo>
                    <a:pt x="82" y="77"/>
                    <a:pt x="82" y="79"/>
                    <a:pt x="80" y="81"/>
                  </a:cubicBezTo>
                  <a:cubicBezTo>
                    <a:pt x="79" y="82"/>
                    <a:pt x="77" y="83"/>
                    <a:pt x="76" y="82"/>
                  </a:cubicBezTo>
                  <a:cubicBezTo>
                    <a:pt x="69" y="82"/>
                    <a:pt x="62" y="82"/>
                    <a:pt x="56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2"/>
                    <a:pt x="50" y="83"/>
                    <a:pt x="50" y="83"/>
                  </a:cubicBezTo>
                  <a:cubicBezTo>
                    <a:pt x="50" y="83"/>
                    <a:pt x="50" y="83"/>
                    <a:pt x="51" y="84"/>
                  </a:cubicBezTo>
                  <a:cubicBezTo>
                    <a:pt x="51" y="84"/>
                    <a:pt x="51" y="85"/>
                    <a:pt x="52" y="85"/>
                  </a:cubicBezTo>
                  <a:cubicBezTo>
                    <a:pt x="52" y="86"/>
                    <a:pt x="52" y="86"/>
                    <a:pt x="53" y="86"/>
                  </a:cubicBezTo>
                  <a:cubicBezTo>
                    <a:pt x="54" y="89"/>
                    <a:pt x="55" y="92"/>
                    <a:pt x="54" y="94"/>
                  </a:cubicBezTo>
                  <a:cubicBezTo>
                    <a:pt x="53" y="97"/>
                    <a:pt x="52" y="98"/>
                    <a:pt x="49" y="99"/>
                  </a:cubicBezTo>
                  <a:cubicBezTo>
                    <a:pt x="46" y="100"/>
                    <a:pt x="43" y="101"/>
                    <a:pt x="41" y="101"/>
                  </a:cubicBezTo>
                  <a:close/>
                  <a:moveTo>
                    <a:pt x="16" y="77"/>
                  </a:moveTo>
                  <a:cubicBezTo>
                    <a:pt x="19" y="77"/>
                    <a:pt x="21" y="77"/>
                    <a:pt x="24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33" y="77"/>
                    <a:pt x="35" y="79"/>
                    <a:pt x="36" y="80"/>
                  </a:cubicBezTo>
                  <a:cubicBezTo>
                    <a:pt x="36" y="81"/>
                    <a:pt x="37" y="84"/>
                    <a:pt x="35" y="87"/>
                  </a:cubicBezTo>
                  <a:cubicBezTo>
                    <a:pt x="35" y="88"/>
                    <a:pt x="34" y="88"/>
                    <a:pt x="34" y="89"/>
                  </a:cubicBezTo>
                  <a:cubicBezTo>
                    <a:pt x="33" y="89"/>
                    <a:pt x="33" y="89"/>
                    <a:pt x="33" y="90"/>
                  </a:cubicBezTo>
                  <a:cubicBezTo>
                    <a:pt x="32" y="91"/>
                    <a:pt x="32" y="92"/>
                    <a:pt x="32" y="93"/>
                  </a:cubicBezTo>
                  <a:cubicBezTo>
                    <a:pt x="32" y="94"/>
                    <a:pt x="33" y="94"/>
                    <a:pt x="34" y="94"/>
                  </a:cubicBezTo>
                  <a:cubicBezTo>
                    <a:pt x="38" y="96"/>
                    <a:pt x="43" y="96"/>
                    <a:pt x="47" y="94"/>
                  </a:cubicBezTo>
                  <a:cubicBezTo>
                    <a:pt x="48" y="94"/>
                    <a:pt x="49" y="94"/>
                    <a:pt x="49" y="93"/>
                  </a:cubicBezTo>
                  <a:cubicBezTo>
                    <a:pt x="49" y="92"/>
                    <a:pt x="49" y="91"/>
                    <a:pt x="48" y="89"/>
                  </a:cubicBezTo>
                  <a:cubicBezTo>
                    <a:pt x="48" y="89"/>
                    <a:pt x="48" y="89"/>
                    <a:pt x="48" y="89"/>
                  </a:cubicBezTo>
                  <a:cubicBezTo>
                    <a:pt x="47" y="88"/>
                    <a:pt x="46" y="87"/>
                    <a:pt x="46" y="86"/>
                  </a:cubicBezTo>
                  <a:cubicBezTo>
                    <a:pt x="45" y="83"/>
                    <a:pt x="45" y="81"/>
                    <a:pt x="46" y="80"/>
                  </a:cubicBezTo>
                  <a:cubicBezTo>
                    <a:pt x="47" y="78"/>
                    <a:pt x="49" y="77"/>
                    <a:pt x="51" y="77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62" y="77"/>
                    <a:pt x="69" y="77"/>
                    <a:pt x="76" y="77"/>
                  </a:cubicBezTo>
                  <a:cubicBezTo>
                    <a:pt x="76" y="77"/>
                    <a:pt x="76" y="77"/>
                    <a:pt x="77" y="77"/>
                  </a:cubicBezTo>
                  <a:cubicBezTo>
                    <a:pt x="77" y="77"/>
                    <a:pt x="77" y="77"/>
                    <a:pt x="77" y="76"/>
                  </a:cubicBezTo>
                  <a:cubicBezTo>
                    <a:pt x="77" y="69"/>
                    <a:pt x="77" y="62"/>
                    <a:pt x="77" y="55"/>
                  </a:cubicBezTo>
                  <a:cubicBezTo>
                    <a:pt x="77" y="52"/>
                    <a:pt x="77" y="52"/>
                    <a:pt x="77" y="52"/>
                  </a:cubicBezTo>
                  <a:cubicBezTo>
                    <a:pt x="77" y="49"/>
                    <a:pt x="78" y="47"/>
                    <a:pt x="79" y="46"/>
                  </a:cubicBezTo>
                  <a:cubicBezTo>
                    <a:pt x="80" y="46"/>
                    <a:pt x="82" y="45"/>
                    <a:pt x="85" y="46"/>
                  </a:cubicBezTo>
                  <a:cubicBezTo>
                    <a:pt x="86" y="47"/>
                    <a:pt x="87" y="48"/>
                    <a:pt x="88" y="48"/>
                  </a:cubicBezTo>
                  <a:cubicBezTo>
                    <a:pt x="88" y="49"/>
                    <a:pt x="89" y="49"/>
                    <a:pt x="89" y="49"/>
                  </a:cubicBezTo>
                  <a:cubicBezTo>
                    <a:pt x="90" y="50"/>
                    <a:pt x="91" y="50"/>
                    <a:pt x="92" y="50"/>
                  </a:cubicBezTo>
                  <a:cubicBezTo>
                    <a:pt x="93" y="49"/>
                    <a:pt x="94" y="48"/>
                    <a:pt x="94" y="48"/>
                  </a:cubicBezTo>
                  <a:cubicBezTo>
                    <a:pt x="96" y="43"/>
                    <a:pt x="96" y="39"/>
                    <a:pt x="94" y="35"/>
                  </a:cubicBezTo>
                  <a:cubicBezTo>
                    <a:pt x="93" y="34"/>
                    <a:pt x="93" y="33"/>
                    <a:pt x="92" y="33"/>
                  </a:cubicBezTo>
                  <a:cubicBezTo>
                    <a:pt x="91" y="32"/>
                    <a:pt x="90" y="33"/>
                    <a:pt x="89" y="33"/>
                  </a:cubicBezTo>
                  <a:cubicBezTo>
                    <a:pt x="89" y="34"/>
                    <a:pt x="89" y="34"/>
                    <a:pt x="88" y="34"/>
                  </a:cubicBezTo>
                  <a:cubicBezTo>
                    <a:pt x="88" y="35"/>
                    <a:pt x="87" y="35"/>
                    <a:pt x="86" y="36"/>
                  </a:cubicBezTo>
                  <a:cubicBezTo>
                    <a:pt x="83" y="37"/>
                    <a:pt x="81" y="37"/>
                    <a:pt x="79" y="36"/>
                  </a:cubicBezTo>
                  <a:cubicBezTo>
                    <a:pt x="78" y="35"/>
                    <a:pt x="77" y="34"/>
                    <a:pt x="77" y="30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19"/>
                    <a:pt x="77" y="12"/>
                    <a:pt x="77" y="6"/>
                  </a:cubicBezTo>
                  <a:cubicBezTo>
                    <a:pt x="77" y="6"/>
                    <a:pt x="77" y="5"/>
                    <a:pt x="77" y="5"/>
                  </a:cubicBezTo>
                  <a:cubicBezTo>
                    <a:pt x="76" y="5"/>
                    <a:pt x="76" y="5"/>
                    <a:pt x="76" y="5"/>
                  </a:cubicBezTo>
                  <a:cubicBezTo>
                    <a:pt x="73" y="5"/>
                    <a:pt x="70" y="5"/>
                    <a:pt x="67" y="5"/>
                  </a:cubicBezTo>
                  <a:cubicBezTo>
                    <a:pt x="66" y="5"/>
                    <a:pt x="65" y="5"/>
                    <a:pt x="64" y="5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57" y="5"/>
                    <a:pt x="54" y="5"/>
                    <a:pt x="52" y="5"/>
                  </a:cubicBezTo>
                  <a:cubicBezTo>
                    <a:pt x="51" y="5"/>
                    <a:pt x="51" y="5"/>
                    <a:pt x="50" y="5"/>
                  </a:cubicBezTo>
                  <a:cubicBezTo>
                    <a:pt x="50" y="6"/>
                    <a:pt x="50" y="6"/>
                    <a:pt x="51" y="7"/>
                  </a:cubicBezTo>
                  <a:cubicBezTo>
                    <a:pt x="51" y="7"/>
                    <a:pt x="51" y="8"/>
                    <a:pt x="52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4" y="11"/>
                    <a:pt x="55" y="15"/>
                    <a:pt x="54" y="18"/>
                  </a:cubicBezTo>
                  <a:cubicBezTo>
                    <a:pt x="53" y="20"/>
                    <a:pt x="50" y="22"/>
                    <a:pt x="47" y="23"/>
                  </a:cubicBezTo>
                  <a:cubicBezTo>
                    <a:pt x="43" y="23"/>
                    <a:pt x="39" y="23"/>
                    <a:pt x="34" y="23"/>
                  </a:cubicBezTo>
                  <a:cubicBezTo>
                    <a:pt x="31" y="22"/>
                    <a:pt x="28" y="20"/>
                    <a:pt x="27" y="18"/>
                  </a:cubicBezTo>
                  <a:cubicBezTo>
                    <a:pt x="26" y="15"/>
                    <a:pt x="27" y="12"/>
                    <a:pt x="29" y="9"/>
                  </a:cubicBezTo>
                  <a:cubicBezTo>
                    <a:pt x="29" y="8"/>
                    <a:pt x="30" y="8"/>
                    <a:pt x="30" y="8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1" y="5"/>
                    <a:pt x="30" y="5"/>
                    <a:pt x="30" y="5"/>
                  </a:cubicBezTo>
                  <a:cubicBezTo>
                    <a:pt x="27" y="5"/>
                    <a:pt x="25" y="5"/>
                    <a:pt x="22" y="5"/>
                  </a:cubicBezTo>
                  <a:cubicBezTo>
                    <a:pt x="17" y="5"/>
                    <a:pt x="11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5" y="10"/>
                    <a:pt x="5" y="15"/>
                    <a:pt x="5" y="19"/>
                  </a:cubicBezTo>
                  <a:cubicBezTo>
                    <a:pt x="5" y="22"/>
                    <a:pt x="5" y="26"/>
                    <a:pt x="5" y="30"/>
                  </a:cubicBezTo>
                  <a:cubicBezTo>
                    <a:pt x="5" y="30"/>
                    <a:pt x="5" y="31"/>
                    <a:pt x="5" y="31"/>
                  </a:cubicBezTo>
                  <a:cubicBezTo>
                    <a:pt x="6" y="31"/>
                    <a:pt x="7" y="31"/>
                    <a:pt x="7" y="31"/>
                  </a:cubicBezTo>
                  <a:cubicBezTo>
                    <a:pt x="8" y="31"/>
                    <a:pt x="8" y="30"/>
                    <a:pt x="8" y="30"/>
                  </a:cubicBezTo>
                  <a:cubicBezTo>
                    <a:pt x="8" y="30"/>
                    <a:pt x="8" y="30"/>
                    <a:pt x="9" y="29"/>
                  </a:cubicBezTo>
                  <a:cubicBezTo>
                    <a:pt x="11" y="27"/>
                    <a:pt x="14" y="27"/>
                    <a:pt x="17" y="28"/>
                  </a:cubicBezTo>
                  <a:cubicBezTo>
                    <a:pt x="19" y="28"/>
                    <a:pt x="21" y="30"/>
                    <a:pt x="22" y="33"/>
                  </a:cubicBezTo>
                  <a:cubicBezTo>
                    <a:pt x="24" y="39"/>
                    <a:pt x="24" y="44"/>
                    <a:pt x="22" y="49"/>
                  </a:cubicBezTo>
                  <a:cubicBezTo>
                    <a:pt x="21" y="52"/>
                    <a:pt x="19" y="54"/>
                    <a:pt x="17" y="55"/>
                  </a:cubicBezTo>
                  <a:cubicBezTo>
                    <a:pt x="14" y="56"/>
                    <a:pt x="11" y="55"/>
                    <a:pt x="9" y="53"/>
                  </a:cubicBezTo>
                  <a:cubicBezTo>
                    <a:pt x="9" y="53"/>
                    <a:pt x="8" y="53"/>
                    <a:pt x="8" y="52"/>
                  </a:cubicBezTo>
                  <a:cubicBezTo>
                    <a:pt x="7" y="52"/>
                    <a:pt x="7" y="52"/>
                    <a:pt x="6" y="51"/>
                  </a:cubicBezTo>
                  <a:cubicBezTo>
                    <a:pt x="6" y="51"/>
                    <a:pt x="5" y="51"/>
                    <a:pt x="5" y="51"/>
                  </a:cubicBezTo>
                  <a:cubicBezTo>
                    <a:pt x="5" y="51"/>
                    <a:pt x="5" y="52"/>
                    <a:pt x="5" y="52"/>
                  </a:cubicBezTo>
                  <a:cubicBezTo>
                    <a:pt x="5" y="55"/>
                    <a:pt x="5" y="58"/>
                    <a:pt x="5" y="60"/>
                  </a:cubicBezTo>
                  <a:cubicBezTo>
                    <a:pt x="5" y="65"/>
                    <a:pt x="5" y="71"/>
                    <a:pt x="5" y="76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6" y="77"/>
                  </a:cubicBezTo>
                  <a:cubicBezTo>
                    <a:pt x="9" y="77"/>
                    <a:pt x="13" y="77"/>
                    <a:pt x="16" y="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 dirty="0"/>
            </a:p>
          </p:txBody>
        </p:sp>
        <p:sp>
          <p:nvSpPr>
            <p:cNvPr id="50" name="Freeform 68">
              <a:extLst>
                <a:ext uri="{FF2B5EF4-FFF2-40B4-BE49-F238E27FC236}">
                  <a16:creationId xmlns:a16="http://schemas.microsoft.com/office/drawing/2014/main" id="{0E176623-4775-4EEF-8743-5076A7299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3063" y="4630738"/>
              <a:ext cx="561975" cy="450850"/>
            </a:xfrm>
            <a:custGeom>
              <a:avLst/>
              <a:gdLst/>
              <a:ahLst/>
              <a:cxnLst>
                <a:cxn ang="0">
                  <a:pos x="0" y="62"/>
                </a:cxn>
                <a:cxn ang="0">
                  <a:pos x="0" y="49"/>
                </a:cxn>
                <a:cxn ang="0">
                  <a:pos x="4" y="46"/>
                </a:cxn>
                <a:cxn ang="0">
                  <a:pos x="7" y="48"/>
                </a:cxn>
                <a:cxn ang="0">
                  <a:pos x="17" y="45"/>
                </a:cxn>
                <a:cxn ang="0">
                  <a:pos x="17" y="31"/>
                </a:cxn>
                <a:cxn ang="0">
                  <a:pos x="8" y="29"/>
                </a:cxn>
                <a:cxn ang="0">
                  <a:pos x="3" y="31"/>
                </a:cxn>
                <a:cxn ang="0">
                  <a:pos x="0" y="29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27" y="0"/>
                </a:cxn>
                <a:cxn ang="0">
                  <a:pos x="31" y="5"/>
                </a:cxn>
                <a:cxn ang="0">
                  <a:pos x="29" y="8"/>
                </a:cxn>
                <a:cxn ang="0">
                  <a:pos x="32" y="18"/>
                </a:cxn>
                <a:cxn ang="0">
                  <a:pos x="45" y="18"/>
                </a:cxn>
                <a:cxn ang="0">
                  <a:pos x="48" y="8"/>
                </a:cxn>
                <a:cxn ang="0">
                  <a:pos x="46" y="5"/>
                </a:cxn>
                <a:cxn ang="0">
                  <a:pos x="49" y="0"/>
                </a:cxn>
                <a:cxn ang="0">
                  <a:pos x="74" y="0"/>
                </a:cxn>
                <a:cxn ang="0">
                  <a:pos x="77" y="3"/>
                </a:cxn>
                <a:cxn ang="0">
                  <a:pos x="77" y="28"/>
                </a:cxn>
                <a:cxn ang="0">
                  <a:pos x="81" y="31"/>
                </a:cxn>
                <a:cxn ang="0">
                  <a:pos x="84" y="29"/>
                </a:cxn>
                <a:cxn ang="0">
                  <a:pos x="94" y="32"/>
                </a:cxn>
                <a:cxn ang="0">
                  <a:pos x="94" y="46"/>
                </a:cxn>
                <a:cxn ang="0">
                  <a:pos x="85" y="48"/>
                </a:cxn>
                <a:cxn ang="0">
                  <a:pos x="80" y="46"/>
                </a:cxn>
                <a:cxn ang="0">
                  <a:pos x="77" y="49"/>
                </a:cxn>
                <a:cxn ang="0">
                  <a:pos x="77" y="74"/>
                </a:cxn>
                <a:cxn ang="0">
                  <a:pos x="74" y="77"/>
                </a:cxn>
                <a:cxn ang="0">
                  <a:pos x="49" y="77"/>
                </a:cxn>
                <a:cxn ang="0">
                  <a:pos x="46" y="76"/>
                </a:cxn>
                <a:cxn ang="0">
                  <a:pos x="46" y="71"/>
                </a:cxn>
                <a:cxn ang="0">
                  <a:pos x="48" y="69"/>
                </a:cxn>
                <a:cxn ang="0">
                  <a:pos x="45" y="60"/>
                </a:cxn>
                <a:cxn ang="0">
                  <a:pos x="31" y="60"/>
                </a:cxn>
                <a:cxn ang="0">
                  <a:pos x="28" y="69"/>
                </a:cxn>
                <a:cxn ang="0">
                  <a:pos x="29" y="70"/>
                </a:cxn>
                <a:cxn ang="0">
                  <a:pos x="30" y="76"/>
                </a:cxn>
                <a:cxn ang="0">
                  <a:pos x="26" y="77"/>
                </a:cxn>
                <a:cxn ang="0">
                  <a:pos x="3" y="77"/>
                </a:cxn>
                <a:cxn ang="0">
                  <a:pos x="0" y="74"/>
                </a:cxn>
                <a:cxn ang="0">
                  <a:pos x="0" y="62"/>
                </a:cxn>
              </a:cxnLst>
              <a:rect l="0" t="0" r="r" b="b"/>
              <a:pathLst>
                <a:path w="96" h="77">
                  <a:moveTo>
                    <a:pt x="0" y="62"/>
                  </a:moveTo>
                  <a:cubicBezTo>
                    <a:pt x="0" y="57"/>
                    <a:pt x="0" y="53"/>
                    <a:pt x="0" y="49"/>
                  </a:cubicBezTo>
                  <a:cubicBezTo>
                    <a:pt x="0" y="46"/>
                    <a:pt x="1" y="45"/>
                    <a:pt x="4" y="46"/>
                  </a:cubicBezTo>
                  <a:cubicBezTo>
                    <a:pt x="5" y="46"/>
                    <a:pt x="6" y="47"/>
                    <a:pt x="7" y="48"/>
                  </a:cubicBezTo>
                  <a:cubicBezTo>
                    <a:pt x="12" y="51"/>
                    <a:pt x="16" y="51"/>
                    <a:pt x="17" y="45"/>
                  </a:cubicBezTo>
                  <a:cubicBezTo>
                    <a:pt x="19" y="41"/>
                    <a:pt x="19" y="36"/>
                    <a:pt x="17" y="31"/>
                  </a:cubicBezTo>
                  <a:cubicBezTo>
                    <a:pt x="15" y="27"/>
                    <a:pt x="12" y="26"/>
                    <a:pt x="8" y="29"/>
                  </a:cubicBezTo>
                  <a:cubicBezTo>
                    <a:pt x="6" y="30"/>
                    <a:pt x="5" y="31"/>
                    <a:pt x="3" y="31"/>
                  </a:cubicBezTo>
                  <a:cubicBezTo>
                    <a:pt x="1" y="32"/>
                    <a:pt x="0" y="31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1" y="0"/>
                    <a:pt x="19" y="0"/>
                    <a:pt x="27" y="0"/>
                  </a:cubicBezTo>
                  <a:cubicBezTo>
                    <a:pt x="31" y="0"/>
                    <a:pt x="32" y="2"/>
                    <a:pt x="31" y="5"/>
                  </a:cubicBezTo>
                  <a:cubicBezTo>
                    <a:pt x="30" y="6"/>
                    <a:pt x="29" y="7"/>
                    <a:pt x="29" y="8"/>
                  </a:cubicBezTo>
                  <a:cubicBezTo>
                    <a:pt x="26" y="12"/>
                    <a:pt x="27" y="17"/>
                    <a:pt x="32" y="18"/>
                  </a:cubicBezTo>
                  <a:cubicBezTo>
                    <a:pt x="36" y="18"/>
                    <a:pt x="40" y="18"/>
                    <a:pt x="45" y="18"/>
                  </a:cubicBezTo>
                  <a:cubicBezTo>
                    <a:pt x="50" y="17"/>
                    <a:pt x="51" y="12"/>
                    <a:pt x="48" y="8"/>
                  </a:cubicBezTo>
                  <a:cubicBezTo>
                    <a:pt x="47" y="7"/>
                    <a:pt x="46" y="6"/>
                    <a:pt x="46" y="5"/>
                  </a:cubicBezTo>
                  <a:cubicBezTo>
                    <a:pt x="44" y="2"/>
                    <a:pt x="46" y="0"/>
                    <a:pt x="49" y="0"/>
                  </a:cubicBezTo>
                  <a:cubicBezTo>
                    <a:pt x="57" y="0"/>
                    <a:pt x="65" y="0"/>
                    <a:pt x="74" y="0"/>
                  </a:cubicBezTo>
                  <a:cubicBezTo>
                    <a:pt x="76" y="0"/>
                    <a:pt x="77" y="1"/>
                    <a:pt x="77" y="3"/>
                  </a:cubicBezTo>
                  <a:cubicBezTo>
                    <a:pt x="77" y="11"/>
                    <a:pt x="77" y="20"/>
                    <a:pt x="77" y="28"/>
                  </a:cubicBezTo>
                  <a:cubicBezTo>
                    <a:pt x="77" y="31"/>
                    <a:pt x="78" y="32"/>
                    <a:pt x="81" y="31"/>
                  </a:cubicBezTo>
                  <a:cubicBezTo>
                    <a:pt x="82" y="31"/>
                    <a:pt x="83" y="30"/>
                    <a:pt x="84" y="29"/>
                  </a:cubicBezTo>
                  <a:cubicBezTo>
                    <a:pt x="88" y="26"/>
                    <a:pt x="92" y="27"/>
                    <a:pt x="94" y="32"/>
                  </a:cubicBezTo>
                  <a:cubicBezTo>
                    <a:pt x="95" y="37"/>
                    <a:pt x="96" y="42"/>
                    <a:pt x="94" y="46"/>
                  </a:cubicBezTo>
                  <a:cubicBezTo>
                    <a:pt x="92" y="50"/>
                    <a:pt x="88" y="51"/>
                    <a:pt x="85" y="48"/>
                  </a:cubicBezTo>
                  <a:cubicBezTo>
                    <a:pt x="83" y="48"/>
                    <a:pt x="82" y="46"/>
                    <a:pt x="80" y="46"/>
                  </a:cubicBezTo>
                  <a:cubicBezTo>
                    <a:pt x="78" y="45"/>
                    <a:pt x="77" y="46"/>
                    <a:pt x="77" y="49"/>
                  </a:cubicBezTo>
                  <a:cubicBezTo>
                    <a:pt x="77" y="57"/>
                    <a:pt x="77" y="66"/>
                    <a:pt x="77" y="74"/>
                  </a:cubicBezTo>
                  <a:cubicBezTo>
                    <a:pt x="77" y="76"/>
                    <a:pt x="76" y="77"/>
                    <a:pt x="74" y="77"/>
                  </a:cubicBezTo>
                  <a:cubicBezTo>
                    <a:pt x="65" y="77"/>
                    <a:pt x="57" y="77"/>
                    <a:pt x="49" y="77"/>
                  </a:cubicBezTo>
                  <a:cubicBezTo>
                    <a:pt x="48" y="77"/>
                    <a:pt x="46" y="77"/>
                    <a:pt x="46" y="76"/>
                  </a:cubicBezTo>
                  <a:cubicBezTo>
                    <a:pt x="45" y="74"/>
                    <a:pt x="46" y="73"/>
                    <a:pt x="46" y="71"/>
                  </a:cubicBezTo>
                  <a:cubicBezTo>
                    <a:pt x="46" y="70"/>
                    <a:pt x="47" y="70"/>
                    <a:pt x="48" y="69"/>
                  </a:cubicBezTo>
                  <a:cubicBezTo>
                    <a:pt x="50" y="65"/>
                    <a:pt x="49" y="61"/>
                    <a:pt x="45" y="60"/>
                  </a:cubicBezTo>
                  <a:cubicBezTo>
                    <a:pt x="40" y="58"/>
                    <a:pt x="36" y="58"/>
                    <a:pt x="31" y="60"/>
                  </a:cubicBezTo>
                  <a:cubicBezTo>
                    <a:pt x="27" y="61"/>
                    <a:pt x="26" y="65"/>
                    <a:pt x="28" y="69"/>
                  </a:cubicBezTo>
                  <a:cubicBezTo>
                    <a:pt x="28" y="69"/>
                    <a:pt x="29" y="70"/>
                    <a:pt x="29" y="70"/>
                  </a:cubicBezTo>
                  <a:cubicBezTo>
                    <a:pt x="30" y="72"/>
                    <a:pt x="30" y="74"/>
                    <a:pt x="30" y="76"/>
                  </a:cubicBezTo>
                  <a:cubicBezTo>
                    <a:pt x="30" y="76"/>
                    <a:pt x="27" y="77"/>
                    <a:pt x="26" y="77"/>
                  </a:cubicBezTo>
                  <a:cubicBezTo>
                    <a:pt x="18" y="77"/>
                    <a:pt x="11" y="77"/>
                    <a:pt x="3" y="77"/>
                  </a:cubicBezTo>
                  <a:cubicBezTo>
                    <a:pt x="1" y="77"/>
                    <a:pt x="0" y="76"/>
                    <a:pt x="0" y="74"/>
                  </a:cubicBezTo>
                  <a:cubicBezTo>
                    <a:pt x="0" y="70"/>
                    <a:pt x="0" y="66"/>
                    <a:pt x="0" y="6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 dirty="0"/>
            </a:p>
          </p:txBody>
        </p:sp>
        <p:sp>
          <p:nvSpPr>
            <p:cNvPr id="51" name="Freeform 69">
              <a:extLst>
                <a:ext uri="{FF2B5EF4-FFF2-40B4-BE49-F238E27FC236}">
                  <a16:creationId xmlns:a16="http://schemas.microsoft.com/office/drawing/2014/main" id="{5289E1E6-B145-4CC1-A017-C5668F605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5081588"/>
              <a:ext cx="450850" cy="450850"/>
            </a:xfrm>
            <a:custGeom>
              <a:avLst/>
              <a:gdLst/>
              <a:ahLst/>
              <a:cxnLst>
                <a:cxn ang="0">
                  <a:pos x="1" y="61"/>
                </a:cxn>
                <a:cxn ang="0">
                  <a:pos x="1" y="49"/>
                </a:cxn>
                <a:cxn ang="0">
                  <a:pos x="1" y="46"/>
                </a:cxn>
                <a:cxn ang="0">
                  <a:pos x="6" y="46"/>
                </a:cxn>
                <a:cxn ang="0">
                  <a:pos x="9" y="48"/>
                </a:cxn>
                <a:cxn ang="0">
                  <a:pos x="17" y="46"/>
                </a:cxn>
                <a:cxn ang="0">
                  <a:pos x="17" y="30"/>
                </a:cxn>
                <a:cxn ang="0">
                  <a:pos x="9" y="28"/>
                </a:cxn>
                <a:cxn ang="0">
                  <a:pos x="7" y="29"/>
                </a:cxn>
                <a:cxn ang="0">
                  <a:pos x="2" y="31"/>
                </a:cxn>
                <a:cxn ang="0">
                  <a:pos x="1" y="26"/>
                </a:cxn>
                <a:cxn ang="0">
                  <a:pos x="1" y="3"/>
                </a:cxn>
                <a:cxn ang="0">
                  <a:pos x="4" y="0"/>
                </a:cxn>
                <a:cxn ang="0">
                  <a:pos x="28" y="0"/>
                </a:cxn>
                <a:cxn ang="0">
                  <a:pos x="31" y="5"/>
                </a:cxn>
                <a:cxn ang="0">
                  <a:pos x="29" y="8"/>
                </a:cxn>
                <a:cxn ang="0">
                  <a:pos x="31" y="17"/>
                </a:cxn>
                <a:cxn ang="0">
                  <a:pos x="47" y="17"/>
                </a:cxn>
                <a:cxn ang="0">
                  <a:pos x="49" y="8"/>
                </a:cxn>
                <a:cxn ang="0">
                  <a:pos x="46" y="2"/>
                </a:cxn>
                <a:cxn ang="0">
                  <a:pos x="48" y="0"/>
                </a:cxn>
                <a:cxn ang="0">
                  <a:pos x="75" y="0"/>
                </a:cxn>
                <a:cxn ang="0">
                  <a:pos x="77" y="2"/>
                </a:cxn>
                <a:cxn ang="0">
                  <a:pos x="77" y="28"/>
                </a:cxn>
                <a:cxn ang="0">
                  <a:pos x="74" y="31"/>
                </a:cxn>
                <a:cxn ang="0">
                  <a:pos x="70" y="29"/>
                </a:cxn>
                <a:cxn ang="0">
                  <a:pos x="60" y="32"/>
                </a:cxn>
                <a:cxn ang="0">
                  <a:pos x="60" y="44"/>
                </a:cxn>
                <a:cxn ang="0">
                  <a:pos x="69" y="48"/>
                </a:cxn>
                <a:cxn ang="0">
                  <a:pos x="71" y="46"/>
                </a:cxn>
                <a:cxn ang="0">
                  <a:pos x="77" y="49"/>
                </a:cxn>
                <a:cxn ang="0">
                  <a:pos x="77" y="73"/>
                </a:cxn>
                <a:cxn ang="0">
                  <a:pos x="73" y="77"/>
                </a:cxn>
                <a:cxn ang="0">
                  <a:pos x="50" y="77"/>
                </a:cxn>
                <a:cxn ang="0">
                  <a:pos x="47" y="71"/>
                </a:cxn>
                <a:cxn ang="0">
                  <a:pos x="48" y="69"/>
                </a:cxn>
                <a:cxn ang="0">
                  <a:pos x="45" y="59"/>
                </a:cxn>
                <a:cxn ang="0">
                  <a:pos x="32" y="59"/>
                </a:cxn>
                <a:cxn ang="0">
                  <a:pos x="29" y="69"/>
                </a:cxn>
                <a:cxn ang="0">
                  <a:pos x="31" y="71"/>
                </a:cxn>
                <a:cxn ang="0">
                  <a:pos x="28" y="77"/>
                </a:cxn>
                <a:cxn ang="0">
                  <a:pos x="4" y="77"/>
                </a:cxn>
                <a:cxn ang="0">
                  <a:pos x="1" y="73"/>
                </a:cxn>
                <a:cxn ang="0">
                  <a:pos x="1" y="61"/>
                </a:cxn>
              </a:cxnLst>
              <a:rect l="0" t="0" r="r" b="b"/>
              <a:pathLst>
                <a:path w="77" h="77">
                  <a:moveTo>
                    <a:pt x="1" y="61"/>
                  </a:moveTo>
                  <a:cubicBezTo>
                    <a:pt x="1" y="57"/>
                    <a:pt x="0" y="53"/>
                    <a:pt x="1" y="49"/>
                  </a:cubicBezTo>
                  <a:cubicBezTo>
                    <a:pt x="1" y="48"/>
                    <a:pt x="1" y="46"/>
                    <a:pt x="1" y="46"/>
                  </a:cubicBezTo>
                  <a:cubicBezTo>
                    <a:pt x="3" y="45"/>
                    <a:pt x="5" y="46"/>
                    <a:pt x="6" y="46"/>
                  </a:cubicBezTo>
                  <a:cubicBezTo>
                    <a:pt x="7" y="46"/>
                    <a:pt x="8" y="47"/>
                    <a:pt x="9" y="48"/>
                  </a:cubicBezTo>
                  <a:cubicBezTo>
                    <a:pt x="12" y="50"/>
                    <a:pt x="16" y="49"/>
                    <a:pt x="17" y="46"/>
                  </a:cubicBezTo>
                  <a:cubicBezTo>
                    <a:pt x="20" y="41"/>
                    <a:pt x="20" y="35"/>
                    <a:pt x="17" y="30"/>
                  </a:cubicBezTo>
                  <a:cubicBezTo>
                    <a:pt x="16" y="27"/>
                    <a:pt x="12" y="26"/>
                    <a:pt x="9" y="28"/>
                  </a:cubicBezTo>
                  <a:cubicBezTo>
                    <a:pt x="9" y="28"/>
                    <a:pt x="8" y="29"/>
                    <a:pt x="7" y="29"/>
                  </a:cubicBezTo>
                  <a:cubicBezTo>
                    <a:pt x="6" y="30"/>
                    <a:pt x="4" y="30"/>
                    <a:pt x="2" y="31"/>
                  </a:cubicBezTo>
                  <a:cubicBezTo>
                    <a:pt x="1" y="29"/>
                    <a:pt x="1" y="28"/>
                    <a:pt x="1" y="26"/>
                  </a:cubicBezTo>
                  <a:cubicBezTo>
                    <a:pt x="1" y="18"/>
                    <a:pt x="1" y="11"/>
                    <a:pt x="1" y="3"/>
                  </a:cubicBezTo>
                  <a:cubicBezTo>
                    <a:pt x="0" y="0"/>
                    <a:pt x="1" y="0"/>
                    <a:pt x="4" y="0"/>
                  </a:cubicBezTo>
                  <a:cubicBezTo>
                    <a:pt x="12" y="0"/>
                    <a:pt x="20" y="0"/>
                    <a:pt x="28" y="0"/>
                  </a:cubicBezTo>
                  <a:cubicBezTo>
                    <a:pt x="32" y="0"/>
                    <a:pt x="33" y="2"/>
                    <a:pt x="31" y="5"/>
                  </a:cubicBezTo>
                  <a:cubicBezTo>
                    <a:pt x="31" y="6"/>
                    <a:pt x="30" y="7"/>
                    <a:pt x="29" y="8"/>
                  </a:cubicBezTo>
                  <a:cubicBezTo>
                    <a:pt x="27" y="11"/>
                    <a:pt x="28" y="15"/>
                    <a:pt x="31" y="17"/>
                  </a:cubicBezTo>
                  <a:cubicBezTo>
                    <a:pt x="36" y="19"/>
                    <a:pt x="42" y="19"/>
                    <a:pt x="47" y="17"/>
                  </a:cubicBezTo>
                  <a:cubicBezTo>
                    <a:pt x="50" y="15"/>
                    <a:pt x="51" y="11"/>
                    <a:pt x="49" y="8"/>
                  </a:cubicBezTo>
                  <a:cubicBezTo>
                    <a:pt x="48" y="6"/>
                    <a:pt x="47" y="4"/>
                    <a:pt x="46" y="2"/>
                  </a:cubicBezTo>
                  <a:cubicBezTo>
                    <a:pt x="46" y="1"/>
                    <a:pt x="48" y="0"/>
                    <a:pt x="48" y="0"/>
                  </a:cubicBezTo>
                  <a:cubicBezTo>
                    <a:pt x="57" y="0"/>
                    <a:pt x="66" y="0"/>
                    <a:pt x="75" y="0"/>
                  </a:cubicBezTo>
                  <a:cubicBezTo>
                    <a:pt x="76" y="0"/>
                    <a:pt x="77" y="1"/>
                    <a:pt x="77" y="2"/>
                  </a:cubicBezTo>
                  <a:cubicBezTo>
                    <a:pt x="77" y="11"/>
                    <a:pt x="77" y="20"/>
                    <a:pt x="77" y="28"/>
                  </a:cubicBezTo>
                  <a:cubicBezTo>
                    <a:pt x="77" y="31"/>
                    <a:pt x="75" y="31"/>
                    <a:pt x="74" y="31"/>
                  </a:cubicBezTo>
                  <a:cubicBezTo>
                    <a:pt x="72" y="31"/>
                    <a:pt x="71" y="30"/>
                    <a:pt x="70" y="29"/>
                  </a:cubicBezTo>
                  <a:cubicBezTo>
                    <a:pt x="65" y="25"/>
                    <a:pt x="60" y="27"/>
                    <a:pt x="60" y="32"/>
                  </a:cubicBezTo>
                  <a:cubicBezTo>
                    <a:pt x="59" y="36"/>
                    <a:pt x="59" y="40"/>
                    <a:pt x="60" y="44"/>
                  </a:cubicBezTo>
                  <a:cubicBezTo>
                    <a:pt x="60" y="49"/>
                    <a:pt x="65" y="51"/>
                    <a:pt x="69" y="48"/>
                  </a:cubicBezTo>
                  <a:cubicBezTo>
                    <a:pt x="70" y="47"/>
                    <a:pt x="71" y="46"/>
                    <a:pt x="71" y="46"/>
                  </a:cubicBezTo>
                  <a:cubicBezTo>
                    <a:pt x="75" y="44"/>
                    <a:pt x="77" y="45"/>
                    <a:pt x="77" y="49"/>
                  </a:cubicBezTo>
                  <a:cubicBezTo>
                    <a:pt x="77" y="57"/>
                    <a:pt x="77" y="65"/>
                    <a:pt x="77" y="73"/>
                  </a:cubicBezTo>
                  <a:cubicBezTo>
                    <a:pt x="77" y="76"/>
                    <a:pt x="76" y="77"/>
                    <a:pt x="73" y="77"/>
                  </a:cubicBezTo>
                  <a:cubicBezTo>
                    <a:pt x="66" y="76"/>
                    <a:pt x="58" y="77"/>
                    <a:pt x="50" y="77"/>
                  </a:cubicBezTo>
                  <a:cubicBezTo>
                    <a:pt x="46" y="77"/>
                    <a:pt x="45" y="74"/>
                    <a:pt x="47" y="71"/>
                  </a:cubicBezTo>
                  <a:cubicBezTo>
                    <a:pt x="47" y="70"/>
                    <a:pt x="48" y="69"/>
                    <a:pt x="48" y="69"/>
                  </a:cubicBezTo>
                  <a:cubicBezTo>
                    <a:pt x="51" y="65"/>
                    <a:pt x="50" y="60"/>
                    <a:pt x="45" y="59"/>
                  </a:cubicBezTo>
                  <a:cubicBezTo>
                    <a:pt x="41" y="58"/>
                    <a:pt x="36" y="58"/>
                    <a:pt x="32" y="59"/>
                  </a:cubicBezTo>
                  <a:cubicBezTo>
                    <a:pt x="27" y="60"/>
                    <a:pt x="26" y="65"/>
                    <a:pt x="29" y="69"/>
                  </a:cubicBezTo>
                  <a:cubicBezTo>
                    <a:pt x="30" y="69"/>
                    <a:pt x="31" y="70"/>
                    <a:pt x="31" y="71"/>
                  </a:cubicBezTo>
                  <a:cubicBezTo>
                    <a:pt x="33" y="74"/>
                    <a:pt x="32" y="77"/>
                    <a:pt x="28" y="77"/>
                  </a:cubicBezTo>
                  <a:cubicBezTo>
                    <a:pt x="20" y="77"/>
                    <a:pt x="12" y="76"/>
                    <a:pt x="4" y="77"/>
                  </a:cubicBezTo>
                  <a:cubicBezTo>
                    <a:pt x="1" y="77"/>
                    <a:pt x="0" y="76"/>
                    <a:pt x="1" y="73"/>
                  </a:cubicBezTo>
                  <a:cubicBezTo>
                    <a:pt x="1" y="69"/>
                    <a:pt x="1" y="65"/>
                    <a:pt x="1" y="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492212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84425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476636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968849" algn="l" rtl="0" fontAlgn="base">
                <a:spcBef>
                  <a:spcPct val="0"/>
                </a:spcBef>
                <a:spcAft>
                  <a:spcPct val="0"/>
                </a:spcAft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461062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953274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445486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937698" algn="l" defTabSz="492212" rtl="0" eaLnBrk="1" latinLnBrk="0" hangingPunct="1">
                <a:defRPr sz="1000" kern="1200" baseline="-25000">
                  <a:solidFill>
                    <a:srgbClr val="006699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endParaRPr lang="en-GB" dirty="0"/>
            </a:p>
          </p:txBody>
        </p:sp>
      </p:grpSp>
      <p:sp>
        <p:nvSpPr>
          <p:cNvPr id="52" name="Rectangle 51"/>
          <p:cNvSpPr/>
          <p:nvPr/>
        </p:nvSpPr>
        <p:spPr>
          <a:xfrm>
            <a:off x="4355172" y="5985897"/>
            <a:ext cx="2255789" cy="797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200" dirty="0"/>
          </a:p>
        </p:txBody>
      </p:sp>
      <p:sp>
        <p:nvSpPr>
          <p:cNvPr id="53" name="Title 9"/>
          <p:cNvSpPr txBox="1">
            <a:spLocks/>
          </p:cNvSpPr>
          <p:nvPr/>
        </p:nvSpPr>
        <p:spPr>
          <a:xfrm>
            <a:off x="527381" y="6651491"/>
            <a:ext cx="4536059" cy="206509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 defTabSz="1219194" rtl="0" eaLnBrk="1" latinLnBrk="0" hangingPunct="1">
              <a:spcBef>
                <a:spcPct val="0"/>
              </a:spcBef>
              <a:buNone/>
              <a:defRPr sz="3733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sz="1000" dirty="0">
                <a:solidFill>
                  <a:srgbClr val="FF0000"/>
                </a:solidFill>
              </a:rPr>
              <a:t>Confidential, not for distribution, subject to consult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5441521" y="1600202"/>
            <a:ext cx="6127087" cy="4709119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85915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HJHuhHSnmwg0tzOBVjEw"/>
</p:tagLst>
</file>

<file path=ppt/theme/theme1.xml><?xml version="1.0" encoding="utf-8"?>
<a:theme xmlns:a="http://schemas.openxmlformats.org/drawingml/2006/main" name="1_Office Theme">
  <a:themeElements>
    <a:clrScheme name="Dept of Education">
      <a:dk1>
        <a:sysClr val="windowText" lastClr="000000"/>
      </a:dk1>
      <a:lt1>
        <a:sysClr val="window" lastClr="FFFFFF"/>
      </a:lt1>
      <a:dk2>
        <a:srgbClr val="425968"/>
      </a:dk2>
      <a:lt2>
        <a:srgbClr val="EEECE1"/>
      </a:lt2>
      <a:accent1>
        <a:srgbClr val="00ABC3"/>
      </a:accent1>
      <a:accent2>
        <a:srgbClr val="00B178"/>
      </a:accent2>
      <a:accent3>
        <a:srgbClr val="9ACAEB"/>
      </a:accent3>
      <a:accent4>
        <a:srgbClr val="A87EB1"/>
      </a:accent4>
      <a:accent5>
        <a:srgbClr val="4BACC6"/>
      </a:accent5>
      <a:accent6>
        <a:srgbClr val="FFC623"/>
      </a:accent6>
      <a:hlink>
        <a:srgbClr val="0000FF"/>
      </a:hlink>
      <a:folHlink>
        <a:srgbClr val="800080"/>
      </a:folHlink>
    </a:clrScheme>
    <a:fontScheme name="Dept of Education">
      <a:majorFont>
        <a:latin typeface="Montserrat"/>
        <a:ea typeface=""/>
        <a:cs typeface=""/>
      </a:majorFont>
      <a:minorFont>
        <a:latin typeface="Montserra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02</TotalTime>
  <Words>798</Words>
  <Application>Microsoft Office PowerPoint</Application>
  <PresentationFormat>Widescreen</PresentationFormat>
  <Paragraphs>107</Paragraphs>
  <Slides>9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1_Office Theme</vt:lpstr>
      <vt:lpstr>‘One finance’ project</vt:lpstr>
      <vt:lpstr>Finance vision and purpose</vt:lpstr>
      <vt:lpstr>GUIDING principles</vt:lpstr>
      <vt:lpstr>Voice of customer - who</vt:lpstr>
      <vt:lpstr>Voice of customer responses</vt:lpstr>
      <vt:lpstr>Case for change to achieve our vision</vt:lpstr>
      <vt:lpstr>Project stages</vt:lpstr>
      <vt:lpstr>PROJECT OBJEcTIVES / TARGET outcomes</vt:lpstr>
      <vt:lpstr>KEY DRIVERS / Finance Purpose &amp; Vision</vt:lpstr>
    </vt:vector>
  </TitlesOfParts>
  <Company>NSW Department of Educ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nise Issa</dc:creator>
  <cp:lastModifiedBy>Scott Thomson</cp:lastModifiedBy>
  <cp:revision>143</cp:revision>
  <cp:lastPrinted>2018-11-29T00:28:02Z</cp:lastPrinted>
  <dcterms:created xsi:type="dcterms:W3CDTF">2018-09-11T02:19:23Z</dcterms:created>
  <dcterms:modified xsi:type="dcterms:W3CDTF">2018-11-29T05:29:34Z</dcterms:modified>
</cp:coreProperties>
</file>